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1.xml" ContentType="application/vnd.openxmlformats-officedocument.drawingml.chart+xml"/>
  <Override PartName="/ppt/theme/themeOverride1.xml" ContentType="application/vnd.openxmlformats-officedocument.themeOverr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3" r:id="rId1"/>
    <p:sldMasterId id="2147483682" r:id="rId2"/>
  </p:sldMasterIdLst>
  <p:notesMasterIdLst>
    <p:notesMasterId r:id="rId20"/>
  </p:notesMasterIdLst>
  <p:sldIdLst>
    <p:sldId id="276" r:id="rId3"/>
    <p:sldId id="267" r:id="rId4"/>
    <p:sldId id="268" r:id="rId5"/>
    <p:sldId id="269" r:id="rId6"/>
    <p:sldId id="270" r:id="rId7"/>
    <p:sldId id="271" r:id="rId8"/>
    <p:sldId id="302" r:id="rId9"/>
    <p:sldId id="303" r:id="rId10"/>
    <p:sldId id="304" r:id="rId11"/>
    <p:sldId id="272" r:id="rId12"/>
    <p:sldId id="273" r:id="rId13"/>
    <p:sldId id="299" r:id="rId14"/>
    <p:sldId id="274" r:id="rId15"/>
    <p:sldId id="301" r:id="rId16"/>
    <p:sldId id="275" r:id="rId17"/>
    <p:sldId id="300" r:id="rId18"/>
    <p:sldId id="264" r:id="rId1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13588"/>
    <a:srgbClr val="18B3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0" d="100"/>
          <a:sy n="70" d="100"/>
        </p:scale>
        <p:origin x="-1723" y="-29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%20R%20O%20J%20E%20C%20T%20S\BLOG\ARTICOLE\21_CompaniileMici\Anexa-DateFinanciare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%20R%20O%20J%20E%20C%20T%20S\BLOG\ARTICOLE\21_CompaniileMici\Anexa-DateFinanciare.xlsx" TargetMode="Externa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oleObject" Target="file:///D:\ANALIZA_MACRO\STUDII%20FALIMENTE\23_2017_FY\2017_ALL.xlsx" TargetMode="External"/><Relationship Id="rId1" Type="http://schemas.openxmlformats.org/officeDocument/2006/relationships/themeOverride" Target="../theme/themeOverride1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%20R%20O%20J%20E%20C%20T%20S\SPEAKER-EVENIMENTE\6-Coface\DataBase-Insolvente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%20R%20O%20J%20E%20C%20T%20S\SPEAKER-EVENIMENTE\6-Coface\DataBase-Insolvente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%20R%20O%20J%20E%20C%20T%20S\SPEAKER-EVENIMENTE\6-Coface\DataBase-Insolvente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%20R%20O%20J%20E%20C%20T%20S\BLOG\ARTICOLE\23_Altman-Risc\DataBase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%20R%20O%20J%20E%20C%20T%20S\BLOG\ARTICOLE\21_CompaniileMici\Anexa-DateFinanciare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%20R%20O%20J%20E%20C%20T%20S\BLOG\ARTICOLE\21_CompaniileMici\Anexa-DateFinanciare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%20R%20O%20J%20E%20C%20T%20S\BLOG\ARTICOLE\21_CompaniileMici\Anexa-DateFinanciare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%20R%20O%20J%20E%20C%20T%20S\BLOG\ARTICOLE\21_CompaniileMici\Anexa-DateFinanciare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%20R%20O%20J%20E%20C%20T%20S\BLOG\ARTICOLE\21_CompaniileMici\Anexa-DateFinanciare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%20R%20O%20J%20E%20C%20T%20S\BLOG\ARTICOLE\21_CompaniileMici\Anexa-DateFinanciare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%20R%20O%20J%20E%20C%20T%20S\BLOG\ARTICOLE\21_CompaniileMici\Anexa-DateFinanciare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%20R%20O%20J%20E%20C%20T%20S\BLOG\ARTICOLE\21_CompaniileMici\Anexa-DateFinanciar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/>
              <a:t>Grafic 1. Pondere Cifra Afaceri </a:t>
            </a:r>
            <a:r>
              <a:rPr lang="en-US" sz="1200" baseline="0"/>
              <a:t>in total venituri mediul de afaceri - distributie in functie de dimensiune</a:t>
            </a:r>
            <a:endParaRPr lang="ro-RO" sz="120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9.7109623411610987E-2"/>
          <c:y val="0.2287153689122193"/>
          <c:w val="0.88557702313642506"/>
          <c:h val="0.58694699620880719"/>
        </c:manualLayout>
      </c:layout>
      <c:lineChart>
        <c:grouping val="standard"/>
        <c:varyColors val="0"/>
        <c:ser>
          <c:idx val="0"/>
          <c:order val="0"/>
          <c:tx>
            <c:v>CifraAfaceri &lt; 1 mil EUR</c:v>
          </c:tx>
          <c:spPr>
            <a:ln w="25400">
              <a:solidFill>
                <a:srgbClr val="FF0000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1.7621145374449341E-2"/>
                  <c:y val="-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8.8105726872246704E-3"/>
                  <c:y val="-1.38888888888889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-2.31481481481480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-1.38888888888888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"/>
                  <c:y val="-1.38888888888888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"/>
                  <c:y val="-2.31481481481481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0"/>
                  <c:y val="-1.85185185185186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0"/>
                  <c:y val="-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0"/>
                  <c:y val="-1.85185185185184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1.0768353331893562E-16"/>
                  <c:y val="-1.38888888888888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MARI - MICI'!$B$20:$B$29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E$20:$E$29</c:f>
              <c:numCache>
                <c:formatCode>0%</c:formatCode>
                <c:ptCount val="10"/>
                <c:pt idx="0">
                  <c:v>0.25999999999999995</c:v>
                </c:pt>
                <c:pt idx="1">
                  <c:v>0.23520851430369677</c:v>
                </c:pt>
                <c:pt idx="2">
                  <c:v>0.22053231333731779</c:v>
                </c:pt>
                <c:pt idx="3">
                  <c:v>0.20999999999999994</c:v>
                </c:pt>
                <c:pt idx="4">
                  <c:v>0.19799999999999993</c:v>
                </c:pt>
                <c:pt idx="5">
                  <c:v>0.17303954634450683</c:v>
                </c:pt>
                <c:pt idx="6">
                  <c:v>0.15249222310968449</c:v>
                </c:pt>
                <c:pt idx="7">
                  <c:v>0.15473662648508718</c:v>
                </c:pt>
                <c:pt idx="8">
                  <c:v>0.15539654687342899</c:v>
                </c:pt>
                <c:pt idx="9">
                  <c:v>0.14334105296161029</c:v>
                </c:pt>
              </c:numCache>
            </c:numRef>
          </c:val>
          <c:smooth val="0"/>
        </c:ser>
        <c:ser>
          <c:idx val="1"/>
          <c:order val="1"/>
          <c:tx>
            <c:v>CifraAfaceri &gt; 1 mil EUR</c:v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936857562408223E-3"/>
                  <c:y val="2.77777777777777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2.77777777777777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"/>
                  <c:y val="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2.77777777777777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"/>
                  <c:y val="2.31481481481481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"/>
                  <c:y val="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0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0"/>
                  <c:y val="2.31481481481481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0"/>
                  <c:y val="1.85185185185185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1.0768353331893562E-16"/>
                  <c:y val="9.25925925925925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MARI - MICI'!$E$5:$E$14</c:f>
              <c:numCache>
                <c:formatCode>0%</c:formatCode>
                <c:ptCount val="10"/>
                <c:pt idx="0">
                  <c:v>0.74</c:v>
                </c:pt>
                <c:pt idx="1">
                  <c:v>0.76479148569630329</c:v>
                </c:pt>
                <c:pt idx="2">
                  <c:v>0.77946768666268218</c:v>
                </c:pt>
                <c:pt idx="3">
                  <c:v>0.79</c:v>
                </c:pt>
                <c:pt idx="4">
                  <c:v>0.80200000000000005</c:v>
                </c:pt>
                <c:pt idx="5">
                  <c:v>0.8269604536554932</c:v>
                </c:pt>
                <c:pt idx="6">
                  <c:v>0.84750777689031553</c:v>
                </c:pt>
                <c:pt idx="7">
                  <c:v>0.84526337351491276</c:v>
                </c:pt>
                <c:pt idx="8">
                  <c:v>0.84460345312657104</c:v>
                </c:pt>
                <c:pt idx="9">
                  <c:v>0.8566589470383897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2248704"/>
        <c:axId val="112250240"/>
      </c:lineChart>
      <c:catAx>
        <c:axId val="112248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12250240"/>
        <c:crosses val="autoZero"/>
        <c:auto val="1"/>
        <c:lblAlgn val="ctr"/>
        <c:lblOffset val="100"/>
        <c:noMultiLvlLbl val="0"/>
      </c:catAx>
      <c:valAx>
        <c:axId val="112250240"/>
        <c:scaling>
          <c:orientation val="minMax"/>
          <c:max val="0.9"/>
          <c:min val="0.1"/>
        </c:scaling>
        <c:delete val="0"/>
        <c:axPos val="l"/>
        <c:numFmt formatCode="0%" sourceLinked="1"/>
        <c:majorTickMark val="none"/>
        <c:minorTickMark val="none"/>
        <c:tickLblPos val="nextTo"/>
        <c:crossAx val="11224870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7.6499358285060555E-3"/>
          <c:y val="0.91234762321376495"/>
          <c:w val="0.97179206123463646"/>
          <c:h val="8.4101049868766389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/>
              <a:t>Grafic 10. Rotatia Stocurilor</a:t>
            </a:r>
            <a:endParaRPr lang="ro-RO" sz="120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0439303016638339"/>
          <c:y val="0.15626166520851559"/>
          <c:w val="0.85518054736549998"/>
          <c:h val="0.6455118110236221"/>
        </c:manualLayout>
      </c:layout>
      <c:lineChart>
        <c:grouping val="standard"/>
        <c:varyColors val="0"/>
        <c:ser>
          <c:idx val="0"/>
          <c:order val="0"/>
          <c:tx>
            <c:v>CifraAfaceri &lt; 1 mil EUR</c:v>
          </c:tx>
          <c:spPr>
            <a:ln w="25400">
              <a:solidFill>
                <a:srgbClr val="FF0000"/>
              </a:solidFill>
            </a:ln>
          </c:spPr>
          <c:marker>
            <c:symbol val="none"/>
          </c:marker>
          <c:dLbls>
            <c:dLbl>
              <c:idx val="0"/>
              <c:delete val="1"/>
            </c:dLbl>
            <c:dLbl>
              <c:idx val="1"/>
              <c:layout>
                <c:manualLayout>
                  <c:x val="-3.5242290748898654E-2"/>
                  <c:y val="-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643171806167401E-2"/>
                  <c:y val="-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2305433186490512E-2"/>
                  <c:y val="-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81791483113069E-2"/>
                  <c:y val="-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3.5242290748898682E-2"/>
                  <c:y val="-3.24074074074074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3.81791483113069E-2"/>
                  <c:y val="-1.85185185185185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2.643171806167401E-2"/>
                  <c:y val="-2.31481481481481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4.1116005873715014E-2"/>
                  <c:y val="-3.70370370370370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4.6989952247158531E-2"/>
                  <c:y val="-2.31481481481481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MARI - MICI'!$B$5:$B$14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AY$20:$AY$29</c:f>
              <c:numCache>
                <c:formatCode>#,##0_ ;\-#,##0\ </c:formatCode>
                <c:ptCount val="10"/>
                <c:pt idx="0">
                  <c:v>58.271507950506944</c:v>
                </c:pt>
                <c:pt idx="1">
                  <c:v>65.281615136755775</c:v>
                </c:pt>
                <c:pt idx="2">
                  <c:v>71.855861003933498</c:v>
                </c:pt>
                <c:pt idx="3">
                  <c:v>71.631622591046749</c:v>
                </c:pt>
                <c:pt idx="4">
                  <c:v>78.321201779259368</c:v>
                </c:pt>
                <c:pt idx="5">
                  <c:v>86.738046837034105</c:v>
                </c:pt>
                <c:pt idx="6">
                  <c:v>96.135729215006236</c:v>
                </c:pt>
                <c:pt idx="7">
                  <c:v>89.154713203797854</c:v>
                </c:pt>
                <c:pt idx="8">
                  <c:v>87.165921497098111</c:v>
                </c:pt>
                <c:pt idx="9">
                  <c:v>90.841335635298179</c:v>
                </c:pt>
              </c:numCache>
            </c:numRef>
          </c:val>
          <c:smooth val="0"/>
        </c:ser>
        <c:ser>
          <c:idx val="1"/>
          <c:order val="1"/>
          <c:tx>
            <c:v>CifraAfaceri &gt; 1 mil EUR</c:v>
          </c:tx>
          <c:spPr>
            <a:ln w="25400">
              <a:solidFill>
                <a:schemeClr val="tx2"/>
              </a:solidFill>
            </a:ln>
          </c:spPr>
          <c:marker>
            <c:symbol val="none"/>
          </c:marker>
          <c:dLbls>
            <c:dLbl>
              <c:idx val="1"/>
              <c:layout>
                <c:manualLayout>
                  <c:x val="-3.5242290748898654E-2"/>
                  <c:y val="3.7037037037037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2305433186490456E-2"/>
                  <c:y val="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524229074889873E-2"/>
                  <c:y val="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4.9926578560939794E-2"/>
                  <c:y val="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5.2863436123348019E-2"/>
                  <c:y val="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5.2863436123348019E-2"/>
                  <c:y val="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5.2863436123348019E-2"/>
                  <c:y val="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4.992657856093969E-2"/>
                  <c:y val="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4.4053094684750306E-2"/>
                  <c:y val="5.09259259259259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MARI - MICI'!$B$5:$B$14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AY$5:$AY$14</c:f>
              <c:numCache>
                <c:formatCode>#,##0_ ;\-#,##0\ </c:formatCode>
                <c:ptCount val="10"/>
                <c:pt idx="0">
                  <c:v>54.217273353722824</c:v>
                </c:pt>
                <c:pt idx="1">
                  <c:v>44.209626726508276</c:v>
                </c:pt>
                <c:pt idx="2">
                  <c:v>43.232385854538002</c:v>
                </c:pt>
                <c:pt idx="3">
                  <c:v>44.009105981174955</c:v>
                </c:pt>
                <c:pt idx="4">
                  <c:v>46.013103783127789</c:v>
                </c:pt>
                <c:pt idx="5">
                  <c:v>41.801323571003351</c:v>
                </c:pt>
                <c:pt idx="6">
                  <c:v>41.9114181906547</c:v>
                </c:pt>
                <c:pt idx="7">
                  <c:v>41.071964409128064</c:v>
                </c:pt>
                <c:pt idx="8">
                  <c:v>42.343591318028579</c:v>
                </c:pt>
                <c:pt idx="9">
                  <c:v>58.01381685222003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2941696"/>
        <c:axId val="112955776"/>
      </c:lineChart>
      <c:catAx>
        <c:axId val="112941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12955776"/>
        <c:crosses val="autoZero"/>
        <c:auto val="1"/>
        <c:lblAlgn val="ctr"/>
        <c:lblOffset val="100"/>
        <c:noMultiLvlLbl val="0"/>
      </c:catAx>
      <c:valAx>
        <c:axId val="112955776"/>
        <c:scaling>
          <c:orientation val="minMax"/>
          <c:max val="100"/>
          <c:min val="0"/>
        </c:scaling>
        <c:delete val="0"/>
        <c:axPos val="l"/>
        <c:numFmt formatCode="#,##0_ ;\-#,##0\ " sourceLinked="1"/>
        <c:majorTickMark val="none"/>
        <c:minorTickMark val="none"/>
        <c:tickLblPos val="nextTo"/>
        <c:crossAx val="11294169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1.0968584874027291E-2"/>
          <c:y val="0.90158355205599305"/>
          <c:w val="0.96259969706429871"/>
          <c:h val="9.7989938757655298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2950054686588734E-2"/>
          <c:y val="0.14374999999999999"/>
          <c:w val="0.89460642198533691"/>
          <c:h val="0.651111111111110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Evolutie Anuala'!$B$1</c:f>
              <c:strCache>
                <c:ptCount val="1"/>
                <c:pt idx="0">
                  <c:v>Numar Insolvente</c:v>
                </c:pt>
              </c:strCache>
            </c:strRef>
          </c:tx>
          <c:invertIfNegative val="0"/>
          <c:cat>
            <c:numRef>
              <c:f>'Evolutie Anuala'!$A$2:$A$14</c:f>
              <c:numCache>
                <c:formatCode>General</c:formatCode>
                <c:ptCount val="13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</c:numCache>
            </c:numRef>
          </c:cat>
          <c:val>
            <c:numRef>
              <c:f>'Evolutie Anuala'!$B$2:$B$14</c:f>
              <c:numCache>
                <c:formatCode>_-* #,##0\ _l_e_i_-;\-* #,##0\ _l_e_i_-;_-* "-"??\ _l_e_i_-;_-@_-</c:formatCode>
                <c:ptCount val="13"/>
                <c:pt idx="0">
                  <c:v>9230</c:v>
                </c:pt>
                <c:pt idx="1">
                  <c:v>10431</c:v>
                </c:pt>
                <c:pt idx="2">
                  <c:v>14104</c:v>
                </c:pt>
                <c:pt idx="3">
                  <c:v>14483</c:v>
                </c:pt>
                <c:pt idx="4">
                  <c:v>18421</c:v>
                </c:pt>
                <c:pt idx="5">
                  <c:v>19650</c:v>
                </c:pt>
                <c:pt idx="6">
                  <c:v>21499</c:v>
                </c:pt>
                <c:pt idx="7">
                  <c:v>25842</c:v>
                </c:pt>
                <c:pt idx="8">
                  <c:v>27924</c:v>
                </c:pt>
                <c:pt idx="9">
                  <c:v>20170</c:v>
                </c:pt>
                <c:pt idx="10">
                  <c:v>10174</c:v>
                </c:pt>
                <c:pt idx="11">
                  <c:v>8053</c:v>
                </c:pt>
                <c:pt idx="12">
                  <c:v>825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5204864"/>
        <c:axId val="95206400"/>
      </c:barChart>
      <c:lineChart>
        <c:grouping val="standard"/>
        <c:varyColors val="0"/>
        <c:ser>
          <c:idx val="1"/>
          <c:order val="1"/>
          <c:tx>
            <c:strRef>
              <c:f>'Evolutie Anuala'!$C$1</c:f>
              <c:strCache>
                <c:ptCount val="1"/>
                <c:pt idx="0">
                  <c:v>Insolvente Trend (media 10 ani)</c:v>
                </c:pt>
              </c:strCache>
            </c:strRef>
          </c:tx>
          <c:spPr>
            <a:ln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'Evolutie Anuala'!$A$2:$A$14</c:f>
              <c:numCache>
                <c:formatCode>General</c:formatCode>
                <c:ptCount val="13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</c:numCache>
            </c:numRef>
          </c:cat>
          <c:val>
            <c:numRef>
              <c:f>'Evolutie Anuala'!$C$2:$C$14</c:f>
              <c:numCache>
                <c:formatCode>General</c:formatCode>
                <c:ptCount val="13"/>
                <c:pt idx="0">
                  <c:v>17447</c:v>
                </c:pt>
                <c:pt idx="1">
                  <c:v>17447</c:v>
                </c:pt>
                <c:pt idx="2">
                  <c:v>17447</c:v>
                </c:pt>
                <c:pt idx="3">
                  <c:v>17447</c:v>
                </c:pt>
                <c:pt idx="4">
                  <c:v>17447</c:v>
                </c:pt>
                <c:pt idx="5">
                  <c:v>17447</c:v>
                </c:pt>
                <c:pt idx="6">
                  <c:v>17447</c:v>
                </c:pt>
                <c:pt idx="7">
                  <c:v>17447</c:v>
                </c:pt>
                <c:pt idx="8">
                  <c:v>17447</c:v>
                </c:pt>
                <c:pt idx="9">
                  <c:v>17447</c:v>
                </c:pt>
                <c:pt idx="10">
                  <c:v>17447</c:v>
                </c:pt>
                <c:pt idx="11">
                  <c:v>17447</c:v>
                </c:pt>
                <c:pt idx="12">
                  <c:v>1744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5204864"/>
        <c:axId val="95206400"/>
      </c:lineChart>
      <c:catAx>
        <c:axId val="95204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90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o-RO"/>
          </a:p>
        </c:txPr>
        <c:crossAx val="95206400"/>
        <c:crosses val="autoZero"/>
        <c:auto val="1"/>
        <c:lblAlgn val="ctr"/>
        <c:lblOffset val="100"/>
        <c:noMultiLvlLbl val="0"/>
      </c:catAx>
      <c:valAx>
        <c:axId val="95206400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txPr>
          <a:bodyPr/>
          <a:lstStyle/>
          <a:p>
            <a:pPr>
              <a:defRPr sz="80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o-RO"/>
          </a:p>
        </c:txPr>
        <c:crossAx val="9520486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"/>
          <c:y val="0.87473170020414115"/>
          <c:w val="0.97236220472440948"/>
          <c:h val="0.12113808690580344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138364207364252"/>
          <c:y val="7.9178331875182265E-2"/>
          <c:w val="0.80881671041119862"/>
          <c:h val="0.72082968795567226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IMPACT!$A$6</c:f>
              <c:strCache>
                <c:ptCount val="1"/>
                <c:pt idx="0">
                  <c:v>Pierderi (datorii - active imobilizate) - mil RON</c:v>
                </c:pt>
              </c:strCache>
            </c:strRef>
          </c:tx>
          <c:invertIfNegative val="0"/>
          <c:cat>
            <c:numRef>
              <c:f>IMPACT!$B$1:$I$1</c:f>
              <c:numCache>
                <c:formatCode>General</c:formatCode>
                <c:ptCount val="8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</c:numCache>
            </c:numRef>
          </c:cat>
          <c:val>
            <c:numRef>
              <c:f>IMPACT!$B$6:$J$6</c:f>
              <c:numCache>
                <c:formatCode>_-* #,##0\ _l_e_i_-;\-* #,##0\ _l_e_i_-;_-* "-"??\ _l_e_i_-;_-@_-</c:formatCode>
                <c:ptCount val="9"/>
                <c:pt idx="0">
                  <c:v>4294</c:v>
                </c:pt>
                <c:pt idx="1">
                  <c:v>4192</c:v>
                </c:pt>
                <c:pt idx="2">
                  <c:v>4994</c:v>
                </c:pt>
                <c:pt idx="3">
                  <c:v>5246</c:v>
                </c:pt>
                <c:pt idx="4">
                  <c:v>4438</c:v>
                </c:pt>
                <c:pt idx="5">
                  <c:v>4112</c:v>
                </c:pt>
                <c:pt idx="6">
                  <c:v>3208</c:v>
                </c:pt>
                <c:pt idx="7">
                  <c:v>4544</c:v>
                </c:pt>
                <c:pt idx="8">
                  <c:v>496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6123776"/>
        <c:axId val="36288384"/>
      </c:barChart>
      <c:catAx>
        <c:axId val="361237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ro-RO"/>
          </a:p>
        </c:txPr>
        <c:crossAx val="36288384"/>
        <c:crosses val="autoZero"/>
        <c:auto val="1"/>
        <c:lblAlgn val="ctr"/>
        <c:lblOffset val="100"/>
        <c:noMultiLvlLbl val="0"/>
      </c:catAx>
      <c:valAx>
        <c:axId val="36288384"/>
        <c:scaling>
          <c:orientation val="minMax"/>
        </c:scaling>
        <c:delete val="0"/>
        <c:axPos val="l"/>
        <c:numFmt formatCode="_-* #,##0\ _l_e_i_-;\-* #,##0\ _l_e_i_-;_-* &quot;-&quot;??\ _l_e_i_-;_-@_-" sourceLinked="1"/>
        <c:majorTickMark val="out"/>
        <c:minorTickMark val="none"/>
        <c:tickLblPos val="nextTo"/>
        <c:crossAx val="3612377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27913815686334"/>
          <c:y val="0.89275080198308543"/>
          <c:w val="0.82040012339498025"/>
          <c:h val="0.10338728492271797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8573928258968"/>
          <c:y val="5.1400554097404488E-2"/>
          <c:w val="0.83142869641294836"/>
          <c:h val="0.730767716535433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IMPACT!$A$7</c:f>
              <c:strCache>
                <c:ptCount val="1"/>
                <c:pt idx="0">
                  <c:v>Pierdere medie / companie (mil RON)</c:v>
                </c:pt>
              </c:strCache>
            </c:strRef>
          </c:tx>
          <c:invertIfNegative val="0"/>
          <c:cat>
            <c:numRef>
              <c:f>IMPACT!$B$1:$I$1</c:f>
              <c:numCache>
                <c:formatCode>General</c:formatCode>
                <c:ptCount val="8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</c:numCache>
            </c:numRef>
          </c:cat>
          <c:val>
            <c:numRef>
              <c:f>IMPACT!$B$7:$J$7</c:f>
              <c:numCache>
                <c:formatCode>_-* #,##0.0\ _l_e_i_-;\-* #,##0.0\ _l_e_i_-;_-* "-"??\ _l_e_i_-;_-@_-</c:formatCode>
                <c:ptCount val="9"/>
                <c:pt idx="0">
                  <c:v>1.2198863636363637</c:v>
                </c:pt>
                <c:pt idx="1">
                  <c:v>1.2045977011494253</c:v>
                </c:pt>
                <c:pt idx="2">
                  <c:v>0.79852894147745446</c:v>
                </c:pt>
                <c:pt idx="3">
                  <c:v>0.83085207475451373</c:v>
                </c:pt>
                <c:pt idx="4">
                  <c:v>0.79791441927364259</c:v>
                </c:pt>
                <c:pt idx="5">
                  <c:v>1.5263548626577579</c:v>
                </c:pt>
                <c:pt idx="6">
                  <c:v>1.3845489857574449</c:v>
                </c:pt>
                <c:pt idx="7">
                  <c:v>1.9653979238754324</c:v>
                </c:pt>
                <c:pt idx="8">
                  <c:v>2.0708628595248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7475712"/>
        <c:axId val="107694336"/>
      </c:barChart>
      <c:catAx>
        <c:axId val="1074757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07694336"/>
        <c:crosses val="autoZero"/>
        <c:auto val="1"/>
        <c:lblAlgn val="ctr"/>
        <c:lblOffset val="100"/>
        <c:noMultiLvlLbl val="0"/>
      </c:catAx>
      <c:valAx>
        <c:axId val="107694336"/>
        <c:scaling>
          <c:orientation val="minMax"/>
        </c:scaling>
        <c:delete val="0"/>
        <c:axPos val="l"/>
        <c:numFmt formatCode="_-* #,##0.0\ _l_e_i_-;\-* #,##0.0\ _l_e_i_-;_-* &quot;-&quot;??\ _l_e_i_-;_-@_-" sourceLinked="1"/>
        <c:majorTickMark val="out"/>
        <c:minorTickMark val="none"/>
        <c:tickLblPos val="nextTo"/>
        <c:crossAx val="10747571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9.5236657917760287E-2"/>
          <c:y val="0.88850503062117236"/>
          <c:w val="0.76865223097112856"/>
          <c:h val="8.4101049868766389E-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tx2"/>
            </a:solidFill>
          </c:spPr>
          <c:invertIfNegative val="0"/>
          <c:dLbls>
            <c:txPr>
              <a:bodyPr/>
              <a:lstStyle/>
              <a:p>
                <a:pPr>
                  <a:defRPr sz="1100">
                    <a:solidFill>
                      <a:srgbClr val="FF0000"/>
                    </a:solidFill>
                  </a:defRPr>
                </a:pPr>
                <a:endParaRPr lang="ro-R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OUT - IN'!$G$13:$G$16</c:f>
              <c:strCache>
                <c:ptCount val="4"/>
                <c:pt idx="0">
                  <c:v>Romania</c:v>
                </c:pt>
                <c:pt idx="1">
                  <c:v>Ungaria</c:v>
                </c:pt>
                <c:pt idx="2">
                  <c:v>Cehia</c:v>
                </c:pt>
                <c:pt idx="3">
                  <c:v>Polonia</c:v>
                </c:pt>
              </c:strCache>
            </c:strRef>
          </c:cat>
          <c:val>
            <c:numRef>
              <c:f>'OUT - IN'!$H$13:$H$16</c:f>
              <c:numCache>
                <c:formatCode>General</c:formatCode>
                <c:ptCount val="4"/>
                <c:pt idx="0">
                  <c:v>10</c:v>
                </c:pt>
                <c:pt idx="1">
                  <c:v>14</c:v>
                </c:pt>
                <c:pt idx="2">
                  <c:v>15</c:v>
                </c:pt>
                <c:pt idx="3">
                  <c:v>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5034752"/>
        <c:axId val="119144832"/>
      </c:barChart>
      <c:catAx>
        <c:axId val="11503475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ro-RO"/>
          </a:p>
        </c:txPr>
        <c:crossAx val="119144832"/>
        <c:crosses val="autoZero"/>
        <c:auto val="1"/>
        <c:lblAlgn val="ctr"/>
        <c:lblOffset val="100"/>
        <c:noMultiLvlLbl val="0"/>
      </c:catAx>
      <c:valAx>
        <c:axId val="11914483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1503475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593285214348207"/>
          <c:y val="5.1400554097404488E-2"/>
          <c:w val="0.88173468941382338"/>
          <c:h val="0.7208296879556722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Altman-Timp '!$C$1</c:f>
              <c:strCache>
                <c:ptCount val="1"/>
                <c:pt idx="0">
                  <c:v>Risc Mare
Z &lt; 1,8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numRef>
              <c:f>'Altman-Timp '!$A$2:$A$12</c:f>
              <c:numCache>
                <c:formatCode>General</c:formatCod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numCache>
            </c:numRef>
          </c:cat>
          <c:val>
            <c:numRef>
              <c:f>'Altman-Timp '!$C$2:$C$12</c:f>
              <c:numCache>
                <c:formatCode>0%</c:formatCode>
                <c:ptCount val="11"/>
                <c:pt idx="0">
                  <c:v>0.21</c:v>
                </c:pt>
                <c:pt idx="1">
                  <c:v>0.2</c:v>
                </c:pt>
                <c:pt idx="2">
                  <c:v>0.24</c:v>
                </c:pt>
                <c:pt idx="3">
                  <c:v>0.28000000000000003</c:v>
                </c:pt>
                <c:pt idx="4">
                  <c:v>0.32</c:v>
                </c:pt>
                <c:pt idx="5">
                  <c:v>0.35</c:v>
                </c:pt>
                <c:pt idx="6">
                  <c:v>0.35</c:v>
                </c:pt>
                <c:pt idx="7">
                  <c:v>0.33</c:v>
                </c:pt>
                <c:pt idx="8">
                  <c:v>0.31</c:v>
                </c:pt>
                <c:pt idx="9">
                  <c:v>0.28999999999999998</c:v>
                </c:pt>
                <c:pt idx="10">
                  <c:v>0.3</c:v>
                </c:pt>
              </c:numCache>
            </c:numRef>
          </c:val>
        </c:ser>
        <c:ser>
          <c:idx val="1"/>
          <c:order val="1"/>
          <c:tx>
            <c:strRef>
              <c:f>'Altman-Timp '!$D$1</c:f>
              <c:strCache>
                <c:ptCount val="1"/>
                <c:pt idx="0">
                  <c:v>Risc Mediu
1,8 &lt; Z &lt; 3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</c:spPr>
          <c:invertIfNegative val="0"/>
          <c:cat>
            <c:numRef>
              <c:f>'Altman-Timp '!$A$2:$A$12</c:f>
              <c:numCache>
                <c:formatCode>General</c:formatCod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numCache>
            </c:numRef>
          </c:cat>
          <c:val>
            <c:numRef>
              <c:f>'Altman-Timp '!$D$2:$D$12</c:f>
              <c:numCache>
                <c:formatCode>0%</c:formatCode>
                <c:ptCount val="11"/>
                <c:pt idx="0">
                  <c:v>0.46</c:v>
                </c:pt>
                <c:pt idx="1">
                  <c:v>0.45</c:v>
                </c:pt>
                <c:pt idx="2">
                  <c:v>0.45</c:v>
                </c:pt>
                <c:pt idx="3">
                  <c:v>0.44</c:v>
                </c:pt>
                <c:pt idx="4">
                  <c:v>0.41</c:v>
                </c:pt>
                <c:pt idx="5">
                  <c:v>0.38</c:v>
                </c:pt>
                <c:pt idx="6">
                  <c:v>0.4</c:v>
                </c:pt>
                <c:pt idx="7">
                  <c:v>0.44</c:v>
                </c:pt>
                <c:pt idx="8">
                  <c:v>0.45</c:v>
                </c:pt>
                <c:pt idx="9">
                  <c:v>0.46</c:v>
                </c:pt>
                <c:pt idx="10">
                  <c:v>0.44</c:v>
                </c:pt>
              </c:numCache>
            </c:numRef>
          </c:val>
        </c:ser>
        <c:ser>
          <c:idx val="2"/>
          <c:order val="2"/>
          <c:tx>
            <c:strRef>
              <c:f>'Altman-Timp '!$E$1</c:f>
              <c:strCache>
                <c:ptCount val="1"/>
                <c:pt idx="0">
                  <c:v>Risc Mic
Z &gt; 3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cat>
            <c:numRef>
              <c:f>'Altman-Timp '!$A$2:$A$12</c:f>
              <c:numCache>
                <c:formatCode>General</c:formatCod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numCache>
            </c:numRef>
          </c:cat>
          <c:val>
            <c:numRef>
              <c:f>'Altman-Timp '!$E$2:$E$12</c:f>
              <c:numCache>
                <c:formatCode>0%</c:formatCode>
                <c:ptCount val="11"/>
                <c:pt idx="0">
                  <c:v>0.33</c:v>
                </c:pt>
                <c:pt idx="1">
                  <c:v>0.35</c:v>
                </c:pt>
                <c:pt idx="2">
                  <c:v>0.31</c:v>
                </c:pt>
                <c:pt idx="3">
                  <c:v>0.28000000000000003</c:v>
                </c:pt>
                <c:pt idx="4">
                  <c:v>0.27</c:v>
                </c:pt>
                <c:pt idx="5">
                  <c:v>0.27</c:v>
                </c:pt>
                <c:pt idx="6">
                  <c:v>0.25</c:v>
                </c:pt>
                <c:pt idx="7">
                  <c:v>0.23</c:v>
                </c:pt>
                <c:pt idx="8">
                  <c:v>0.24</c:v>
                </c:pt>
                <c:pt idx="9">
                  <c:v>0.25</c:v>
                </c:pt>
                <c:pt idx="10">
                  <c:v>0.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3001984"/>
        <c:axId val="113003520"/>
      </c:barChart>
      <c:catAx>
        <c:axId val="113001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ro-RO"/>
          </a:p>
        </c:txPr>
        <c:crossAx val="113003520"/>
        <c:crosses val="autoZero"/>
        <c:auto val="1"/>
        <c:lblAlgn val="ctr"/>
        <c:lblOffset val="100"/>
        <c:noMultiLvlLbl val="0"/>
      </c:catAx>
      <c:valAx>
        <c:axId val="113003520"/>
        <c:scaling>
          <c:orientation val="minMax"/>
          <c:max val="1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113001984"/>
        <c:crosses val="autoZero"/>
        <c:crossBetween val="between"/>
        <c:majorUnit val="0.2"/>
      </c:valAx>
    </c:plotArea>
    <c:legend>
      <c:legendPos val="r"/>
      <c:layout>
        <c:manualLayout>
          <c:xMode val="edge"/>
          <c:yMode val="edge"/>
          <c:x val="0.18766754155730533"/>
          <c:y val="0.86458916593759116"/>
          <c:w val="0.69288801399825017"/>
          <c:h val="0.13193277923592886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/>
              <a:t>Grafic 2. Cifra Afaceri companii</a:t>
            </a:r>
            <a:r>
              <a:rPr lang="en-US" sz="1200" baseline="0"/>
              <a:t> / numar de angajati (cifre in mil RON)</a:t>
            </a:r>
            <a:endParaRPr lang="ro-RO" sz="120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0496583301536647"/>
          <c:y val="0.2287153689122193"/>
          <c:w val="0.86868962965532392"/>
          <c:h val="0.5684284776902887"/>
        </c:manualLayout>
      </c:layout>
      <c:lineChart>
        <c:grouping val="standard"/>
        <c:varyColors val="0"/>
        <c:ser>
          <c:idx val="0"/>
          <c:order val="0"/>
          <c:tx>
            <c:v>CifraAfaceri &lt; 1 mil EUR</c:v>
          </c:tx>
          <c:spPr>
            <a:ln w="25400">
              <a:solidFill>
                <a:srgbClr val="FF0000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9368575624082231E-2"/>
                  <c:y val="4.16666666666667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2305433186490429E-2"/>
                  <c:y val="3.70370370370371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2305433186490456E-2"/>
                  <c:y val="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643171806167401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4.1116005873715125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4.6989720998531569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5.2863436123348019E-2"/>
                  <c:y val="3.7037037037037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4.9926578560939794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4.405286343612335E-2"/>
                  <c:y val="4.16666666666667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3.8179148311306796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MARI - MICI'!$G$20:$G$29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J$20:$J$29</c:f>
              <c:numCache>
                <c:formatCode>#,##0.00_ ;\-#,##0.00\ </c:formatCode>
                <c:ptCount val="10"/>
                <c:pt idx="0">
                  <c:v>0.10849733986505615</c:v>
                </c:pt>
                <c:pt idx="1">
                  <c:v>0.12436092436830107</c:v>
                </c:pt>
                <c:pt idx="2">
                  <c:v>0.10705100497658954</c:v>
                </c:pt>
                <c:pt idx="3">
                  <c:v>0.12727577266982898</c:v>
                </c:pt>
                <c:pt idx="4">
                  <c:v>0.12559237476813109</c:v>
                </c:pt>
                <c:pt idx="5">
                  <c:v>0.11242754568961356</c:v>
                </c:pt>
                <c:pt idx="6">
                  <c:v>0.10803258541527921</c:v>
                </c:pt>
                <c:pt idx="7">
                  <c:v>0.11619260208961339</c:v>
                </c:pt>
                <c:pt idx="8">
                  <c:v>0.12385375156886175</c:v>
                </c:pt>
                <c:pt idx="9">
                  <c:v>0.11738217228809404</c:v>
                </c:pt>
              </c:numCache>
            </c:numRef>
          </c:val>
          <c:smooth val="0"/>
        </c:ser>
        <c:ser>
          <c:idx val="1"/>
          <c:order val="1"/>
          <c:tx>
            <c:v>CifraAfaceri &gt; 1 mil EUR</c:v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3.5242290748898682E-2"/>
                  <c:y val="-5.55555555555555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9368575624082204E-2"/>
                  <c:y val="-6.01851851851851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1747430249632892E-2"/>
                  <c:y val="-5.55555555555555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5.8737151248164461E-3"/>
                  <c:y val="-5.55555555555555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1747430249632892E-2"/>
                  <c:y val="-4.6296296296296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1.1747430249632892E-2"/>
                  <c:y val="-4.6296296296296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8.8105726872246704E-3"/>
                  <c:y val="-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1.7621145374449341E-2"/>
                  <c:y val="-5.55555555555555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2.3494860499265784E-2"/>
                  <c:y val="-8.33333333333333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1.1747430249632785E-2"/>
                  <c:y val="-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MARI - MICI'!$G$20:$G$29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J$5:$J$14</c:f>
              <c:numCache>
                <c:formatCode>#,##0.00_ ;\-#,##0.00\ </c:formatCode>
                <c:ptCount val="10"/>
                <c:pt idx="0">
                  <c:v>0.23915618444143627</c:v>
                </c:pt>
                <c:pt idx="1">
                  <c:v>0.31685706622718718</c:v>
                </c:pt>
                <c:pt idx="2">
                  <c:v>0.34506106184169705</c:v>
                </c:pt>
                <c:pt idx="3">
                  <c:v>0.35478194682206926</c:v>
                </c:pt>
                <c:pt idx="4">
                  <c:v>0.37166101640199206</c:v>
                </c:pt>
                <c:pt idx="5">
                  <c:v>0.40144725531991737</c:v>
                </c:pt>
                <c:pt idx="6">
                  <c:v>0.40580874367297387</c:v>
                </c:pt>
                <c:pt idx="7">
                  <c:v>0.41605059187283594</c:v>
                </c:pt>
                <c:pt idx="8">
                  <c:v>0.42524500385804109</c:v>
                </c:pt>
                <c:pt idx="9">
                  <c:v>0.4863482626806441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2571520"/>
        <c:axId val="112573056"/>
      </c:lineChart>
      <c:catAx>
        <c:axId val="112571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12573056"/>
        <c:crosses val="autoZero"/>
        <c:auto val="1"/>
        <c:lblAlgn val="ctr"/>
        <c:lblOffset val="100"/>
        <c:noMultiLvlLbl val="0"/>
      </c:catAx>
      <c:valAx>
        <c:axId val="112573056"/>
        <c:scaling>
          <c:orientation val="minMax"/>
          <c:max val="0.5"/>
          <c:min val="0"/>
        </c:scaling>
        <c:delete val="0"/>
        <c:axPos val="l"/>
        <c:numFmt formatCode="#,##0.00_ ;\-#,##0.00\ " sourceLinked="1"/>
        <c:majorTickMark val="none"/>
        <c:minorTickMark val="none"/>
        <c:tickLblPos val="nextTo"/>
        <c:crossAx val="11257152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1.0366182200793142E-2"/>
          <c:y val="0.88881561679790022"/>
          <c:w val="0.96907581486234928"/>
          <c:h val="0.1080169145523476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/>
              <a:t>Grafic 3. Rezultat net : Cifra afaceri</a:t>
            </a:r>
            <a:endParaRPr lang="ro-RO" sz="120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1342398279510216"/>
          <c:y val="0.16089129483814524"/>
          <c:w val="0.83379976181391424"/>
          <c:h val="0.69974518810148734"/>
        </c:manualLayout>
      </c:layout>
      <c:lineChart>
        <c:grouping val="standard"/>
        <c:varyColors val="0"/>
        <c:ser>
          <c:idx val="0"/>
          <c:order val="0"/>
          <c:tx>
            <c:v>CifraAfaceri &lt; 1 mil EUR</c:v>
          </c:tx>
          <c:spPr>
            <a:ln w="25400">
              <a:solidFill>
                <a:srgbClr val="FF0000"/>
              </a:solidFill>
            </a:ln>
          </c:spPr>
          <c:marker>
            <c:symbol val="none"/>
          </c:marker>
          <c:dLbls>
            <c:dLbl>
              <c:idx val="1"/>
              <c:layout>
                <c:manualLayout>
                  <c:x val="-0.10279001468428781"/>
                  <c:y val="1.38888888888888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1116005873715125E-2"/>
                  <c:y val="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81791483113069E-2"/>
                  <c:y val="-1.85185185185185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"/>
                  <c:y val="3.7037037037037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"/>
                  <c:y val="-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delete val="1"/>
            </c:dLbl>
            <c:dLbl>
              <c:idx val="8"/>
              <c:layout>
                <c:manualLayout>
                  <c:x val="-2.0558002936857563E-2"/>
                  <c:y val="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1.762114537444923E-2"/>
                  <c:y val="1.85185185185185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MARI - MICI'!$B$5:$B$14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O$20:$O$29</c:f>
              <c:numCache>
                <c:formatCode>0.0%</c:formatCode>
                <c:ptCount val="10"/>
                <c:pt idx="0">
                  <c:v>-2.3582063524686517E-2</c:v>
                </c:pt>
                <c:pt idx="1">
                  <c:v>-5.4574434747556785E-2</c:v>
                </c:pt>
                <c:pt idx="2">
                  <c:v>-4.9371692042043551E-2</c:v>
                </c:pt>
                <c:pt idx="3">
                  <c:v>-4.4490926107721575E-2</c:v>
                </c:pt>
                <c:pt idx="4">
                  <c:v>-4.6693779887640063E-2</c:v>
                </c:pt>
                <c:pt idx="5">
                  <c:v>-4.1391046064468716E-2</c:v>
                </c:pt>
                <c:pt idx="6">
                  <c:v>-1.921914009191172E-2</c:v>
                </c:pt>
                <c:pt idx="7">
                  <c:v>1.459115906912465E-3</c:v>
                </c:pt>
                <c:pt idx="8">
                  <c:v>1.0298818129306707E-2</c:v>
                </c:pt>
                <c:pt idx="9">
                  <c:v>2.2076536731484794E-2</c:v>
                </c:pt>
              </c:numCache>
            </c:numRef>
          </c:val>
          <c:smooth val="0"/>
        </c:ser>
        <c:ser>
          <c:idx val="1"/>
          <c:order val="1"/>
          <c:tx>
            <c:v>CifraAfaceri &gt; 1 mil EUR</c:v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dLbls>
            <c:dLbl>
              <c:idx val="2"/>
              <c:layout>
                <c:manualLayout>
                  <c:x val="-2.643171806167401E-2"/>
                  <c:y val="-6.01851851851851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8.8105726872246704E-3"/>
                  <c:y val="-3.70370370370370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4684287812041116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3.5242290748898682E-2"/>
                  <c:y val="-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1.7621145374449341E-2"/>
                  <c:y val="2.77777777777777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2.643171806167401E-2"/>
                  <c:y val="-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8.8105726872245611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MARI - MICI'!$O$5:$O$14</c:f>
              <c:numCache>
                <c:formatCode>0.0%</c:formatCode>
                <c:ptCount val="10"/>
                <c:pt idx="0">
                  <c:v>2.6205825489897517E-2</c:v>
                </c:pt>
                <c:pt idx="1">
                  <c:v>4.3555505614249115E-3</c:v>
                </c:pt>
                <c:pt idx="2">
                  <c:v>1.1127549303780324E-2</c:v>
                </c:pt>
                <c:pt idx="3">
                  <c:v>1.8531220767628198E-2</c:v>
                </c:pt>
                <c:pt idx="4">
                  <c:v>1.8223444914974424E-2</c:v>
                </c:pt>
                <c:pt idx="5">
                  <c:v>2.6863095617936657E-2</c:v>
                </c:pt>
                <c:pt idx="6">
                  <c:v>2.4786106733278888E-2</c:v>
                </c:pt>
                <c:pt idx="7">
                  <c:v>3.182489537438532E-2</c:v>
                </c:pt>
                <c:pt idx="8">
                  <c:v>4.2817714932751043E-2</c:v>
                </c:pt>
                <c:pt idx="9">
                  <c:v>4.0146770401497639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2639360"/>
        <c:axId val="112759936"/>
      </c:lineChart>
      <c:catAx>
        <c:axId val="112639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12759936"/>
        <c:crosses val="autoZero"/>
        <c:auto val="1"/>
        <c:lblAlgn val="ctr"/>
        <c:lblOffset val="100"/>
        <c:noMultiLvlLbl val="0"/>
      </c:catAx>
      <c:valAx>
        <c:axId val="112759936"/>
        <c:scaling>
          <c:orientation val="minMax"/>
        </c:scaling>
        <c:delete val="0"/>
        <c:axPos val="l"/>
        <c:numFmt formatCode="0.0%" sourceLinked="1"/>
        <c:majorTickMark val="none"/>
        <c:minorTickMark val="none"/>
        <c:tickLblPos val="nextTo"/>
        <c:crossAx val="1126393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6.0292760761732934E-2"/>
          <c:y val="0.86879228638086903"/>
          <c:w val="0.91033866361418481"/>
          <c:h val="0.13116506270049574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dirty="0" err="1"/>
              <a:t>Grafic</a:t>
            </a:r>
            <a:r>
              <a:rPr lang="en-US" sz="1200" dirty="0"/>
              <a:t> 4. </a:t>
            </a:r>
            <a:r>
              <a:rPr lang="en-US" sz="1200" dirty="0" err="1" smtClean="0"/>
              <a:t>Trezorerie</a:t>
            </a:r>
            <a:r>
              <a:rPr lang="en-US" sz="1200" dirty="0" smtClean="0"/>
              <a:t>:</a:t>
            </a:r>
            <a:r>
              <a:rPr lang="en-US" sz="1200" baseline="0" dirty="0" smtClean="0"/>
              <a:t> </a:t>
            </a:r>
            <a:r>
              <a:rPr lang="en-US" sz="1200" baseline="0" dirty="0" err="1"/>
              <a:t>Datorii</a:t>
            </a:r>
            <a:r>
              <a:rPr lang="en-US" sz="1200" baseline="0" dirty="0"/>
              <a:t> </a:t>
            </a:r>
            <a:endParaRPr lang="ro-RO" sz="1200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9.7109623411610987E-2"/>
          <c:y val="0.16089129483814524"/>
          <c:w val="0.87948269682148761"/>
          <c:h val="0.63691160638818445"/>
        </c:manualLayout>
      </c:layout>
      <c:lineChart>
        <c:grouping val="standard"/>
        <c:varyColors val="0"/>
        <c:ser>
          <c:idx val="0"/>
          <c:order val="0"/>
          <c:tx>
            <c:v>CifraAfaceri &gt; 1 mil EUR</c:v>
          </c:tx>
          <c:spPr>
            <a:ln w="25400">
              <a:solidFill>
                <a:schemeClr val="tx2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3.5242290748898682E-2"/>
                  <c:y val="-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5800293685756265E-2"/>
                  <c:y val="-1.38888888888888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7.0484581497797363E-2"/>
                  <c:y val="-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5.5800293685756244E-2"/>
                  <c:y val="-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5.5800293685756244E-2"/>
                  <c:y val="-3.24074074074073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4.9926578560939794E-2"/>
                  <c:y val="-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5.8737151248164463E-2"/>
                  <c:y val="-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7.9295154185022032E-2"/>
                  <c:y val="-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5.5800293685756244E-2"/>
                  <c:y val="-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2.055800293685767E-2"/>
                  <c:y val="-4.6296296296296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MARI - MICI'!$B$5:$B$14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T$5:$T$14</c:f>
              <c:numCache>
                <c:formatCode>0%</c:formatCode>
                <c:ptCount val="10"/>
                <c:pt idx="0">
                  <c:v>0.10954481106692196</c:v>
                </c:pt>
                <c:pt idx="1">
                  <c:v>0.11289760034736369</c:v>
                </c:pt>
                <c:pt idx="2">
                  <c:v>0.12718366146019797</c:v>
                </c:pt>
                <c:pt idx="3">
                  <c:v>0.12022011334458615</c:v>
                </c:pt>
                <c:pt idx="4">
                  <c:v>0.11377550707878717</c:v>
                </c:pt>
                <c:pt idx="5">
                  <c:v>0.12842686629093183</c:v>
                </c:pt>
                <c:pt idx="6">
                  <c:v>0.14370552487185737</c:v>
                </c:pt>
                <c:pt idx="7">
                  <c:v>0.17899563625717962</c:v>
                </c:pt>
                <c:pt idx="8">
                  <c:v>0.18059744654766305</c:v>
                </c:pt>
                <c:pt idx="9">
                  <c:v>0.16454069041855293</c:v>
                </c:pt>
              </c:numCache>
            </c:numRef>
          </c:val>
          <c:smooth val="0"/>
        </c:ser>
        <c:ser>
          <c:idx val="1"/>
          <c:order val="1"/>
          <c:tx>
            <c:v>CifraAfaceri &lt; 1 mil EUR</c:v>
          </c:tx>
          <c:spPr>
            <a:ln w="25400">
              <a:solidFill>
                <a:srgbClr val="FF0000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1116005873715139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4052863436123378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5.2863436123348019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5.2863436123348075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5.8737151248164463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6.1674008810572688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7.0484581497797363E-2"/>
                  <c:y val="5.09259259259259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6.1674008810572688E-2"/>
                  <c:y val="5.09259259259259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6.1674008810572688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3.5242290748898786E-2"/>
                  <c:y val="5.55555555555555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'MARI - MICI'!$T$20:$T$29</c:f>
              <c:numCache>
                <c:formatCode>0%</c:formatCode>
                <c:ptCount val="10"/>
                <c:pt idx="0">
                  <c:v>0.1017068088427955</c:v>
                </c:pt>
                <c:pt idx="1">
                  <c:v>8.6978204009431112E-2</c:v>
                </c:pt>
                <c:pt idx="2">
                  <c:v>9.0407383847636427E-2</c:v>
                </c:pt>
                <c:pt idx="3">
                  <c:v>8.3324492172555303E-2</c:v>
                </c:pt>
                <c:pt idx="4">
                  <c:v>8.0761135763048761E-2</c:v>
                </c:pt>
                <c:pt idx="5">
                  <c:v>8.8646814776319749E-2</c:v>
                </c:pt>
                <c:pt idx="6">
                  <c:v>9.910126101194168E-2</c:v>
                </c:pt>
                <c:pt idx="7">
                  <c:v>0.10822667741478427</c:v>
                </c:pt>
                <c:pt idx="8">
                  <c:v>0.11185898292069103</c:v>
                </c:pt>
                <c:pt idx="9">
                  <c:v>0.1141852840216651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2659072"/>
        <c:axId val="112660864"/>
      </c:lineChart>
      <c:catAx>
        <c:axId val="112659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12660864"/>
        <c:crosses val="autoZero"/>
        <c:auto val="1"/>
        <c:lblAlgn val="ctr"/>
        <c:lblOffset val="100"/>
        <c:noMultiLvlLbl val="0"/>
      </c:catAx>
      <c:valAx>
        <c:axId val="112660864"/>
        <c:scaling>
          <c:orientation val="minMax"/>
          <c:min val="6.0000000000000012E-2"/>
        </c:scaling>
        <c:delete val="0"/>
        <c:axPos val="l"/>
        <c:numFmt formatCode="0%" sourceLinked="1"/>
        <c:majorTickMark val="none"/>
        <c:minorTickMark val="none"/>
        <c:tickLblPos val="nextTo"/>
        <c:crossAx val="11265907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2.7987327575242481E-2"/>
          <c:y val="0.85490339749198019"/>
          <c:w val="0.94558095436308343"/>
          <c:h val="0.14505395158938464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/>
              <a:t>Grafic 5. Dividende (mld</a:t>
            </a:r>
            <a:r>
              <a:rPr lang="en-US" sz="1200" baseline="0"/>
              <a:t> RON) si rata de distribuire </a:t>
            </a:r>
            <a:endParaRPr lang="ro-RO" sz="120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1395261715633563"/>
          <c:y val="0.16089129483814524"/>
          <c:w val="0.81810075502676693"/>
          <c:h val="0.62555956547098279"/>
        </c:manualLayout>
      </c:layout>
      <c:lineChart>
        <c:grouping val="standard"/>
        <c:varyColors val="0"/>
        <c:ser>
          <c:idx val="0"/>
          <c:order val="0"/>
          <c:tx>
            <c:v>CifraAfaceri &lt; 1 mil EUR</c:v>
          </c:tx>
          <c:spPr>
            <a:ln w="25400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'MARI - MICI'!$V$20:$V$29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X$20:$X$29</c:f>
              <c:numCache>
                <c:formatCode>#,##0_ ;\-#,##0\ </c:formatCode>
                <c:ptCount val="10"/>
                <c:pt idx="0">
                  <c:v>0</c:v>
                </c:pt>
                <c:pt idx="1">
                  <c:v>-6.6768721720000004</c:v>
                </c:pt>
                <c:pt idx="2">
                  <c:v>-9.5569342220000006</c:v>
                </c:pt>
                <c:pt idx="3">
                  <c:v>-22.085545450000001</c:v>
                </c:pt>
                <c:pt idx="4">
                  <c:v>29.131308657999998</c:v>
                </c:pt>
                <c:pt idx="5">
                  <c:v>-2.5700658340000002</c:v>
                </c:pt>
                <c:pt idx="6">
                  <c:v>-4.4944569029999997</c:v>
                </c:pt>
                <c:pt idx="7">
                  <c:v>2.7931184170000001</c:v>
                </c:pt>
                <c:pt idx="8">
                  <c:v>2.9941699669999999</c:v>
                </c:pt>
                <c:pt idx="9">
                  <c:v>15.050929544000001</c:v>
                </c:pt>
              </c:numCache>
            </c:numRef>
          </c:val>
          <c:smooth val="0"/>
        </c:ser>
        <c:ser>
          <c:idx val="1"/>
          <c:order val="1"/>
          <c:tx>
            <c:v>CifraAfaceri &gt; 1 mil EUR</c:v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'MARI - MICI'!$V$20:$V$29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X$5:$X$14</c:f>
              <c:numCache>
                <c:formatCode>#,##0.0_ ;\-#,##0.0\ </c:formatCode>
                <c:ptCount val="10"/>
                <c:pt idx="0">
                  <c:v>0</c:v>
                </c:pt>
                <c:pt idx="1">
                  <c:v>6.5152604089999997</c:v>
                </c:pt>
                <c:pt idx="2">
                  <c:v>20.878016733999999</c:v>
                </c:pt>
                <c:pt idx="3">
                  <c:v>-4.3238270009999997</c:v>
                </c:pt>
                <c:pt idx="4">
                  <c:v>-1.3324111439999999</c:v>
                </c:pt>
                <c:pt idx="5">
                  <c:v>16.035801734</c:v>
                </c:pt>
                <c:pt idx="6">
                  <c:v>-8.3217630499999995</c:v>
                </c:pt>
                <c:pt idx="7">
                  <c:v>10.968756854</c:v>
                </c:pt>
                <c:pt idx="8">
                  <c:v>20.657259808999999</c:v>
                </c:pt>
                <c:pt idx="9">
                  <c:v>48.58792502699999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2292224"/>
        <c:axId val="112293760"/>
      </c:lineChart>
      <c:catAx>
        <c:axId val="112292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crossAx val="112293760"/>
        <c:crosses val="autoZero"/>
        <c:auto val="1"/>
        <c:lblAlgn val="ctr"/>
        <c:lblOffset val="100"/>
        <c:noMultiLvlLbl val="0"/>
      </c:catAx>
      <c:valAx>
        <c:axId val="112293760"/>
        <c:scaling>
          <c:orientation val="minMax"/>
        </c:scaling>
        <c:delete val="0"/>
        <c:axPos val="l"/>
        <c:numFmt formatCode="#,##0_ ;\-#,##0\ " sourceLinked="1"/>
        <c:majorTickMark val="none"/>
        <c:minorTickMark val="none"/>
        <c:tickLblPos val="nextTo"/>
        <c:txPr>
          <a:bodyPr/>
          <a:lstStyle/>
          <a:p>
            <a:pPr>
              <a:defRPr>
                <a:solidFill>
                  <a:srgbClr val="FF0000"/>
                </a:solidFill>
              </a:defRPr>
            </a:pPr>
            <a:endParaRPr lang="ro-RO"/>
          </a:p>
        </c:txPr>
        <c:crossAx val="11229222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4.6709447662654495E-2"/>
          <c:y val="0.87342191601049868"/>
          <c:w val="0.91914923630140943"/>
          <c:h val="0.12653543307086612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/>
              <a:t>Grafic 6. Gradul de indatorare</a:t>
            </a:r>
            <a:endParaRPr lang="ro-RO" sz="120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9.7315203440979575E-2"/>
          <c:y val="0.16089129483814524"/>
          <c:w val="0.85705967370818736"/>
          <c:h val="0.62054798078921236"/>
        </c:manualLayout>
      </c:layout>
      <c:lineChart>
        <c:grouping val="standard"/>
        <c:varyColors val="0"/>
        <c:ser>
          <c:idx val="0"/>
          <c:order val="0"/>
          <c:tx>
            <c:v>CifraAfaceri &lt; 1 mil EUR</c:v>
          </c:tx>
          <c:spPr>
            <a:ln w="25400">
              <a:solidFill>
                <a:srgbClr val="FF0000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3.81791483113069E-2"/>
                  <c:y val="-4.16666666666666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5242290748898682E-2"/>
                  <c:y val="-2.31481481481481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81791483113069E-2"/>
                  <c:y val="-3.7037037037037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9926578560939794E-2"/>
                  <c:y val="-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5.8737151248164518E-2"/>
                  <c:y val="-1.85185185185185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5.2863436123348019E-2"/>
                  <c:y val="-3.24074074074074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4.6989720998531569E-2"/>
                  <c:y val="-3.70370370370370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3.2305433186490456E-2"/>
                  <c:y val="-3.7037037037037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3.2305433186490456E-2"/>
                  <c:y val="-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2.3494860499265784E-2"/>
                  <c:y val="-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MARI - MICI'!$AA$20:$AA$29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AD$20:$AD$29</c:f>
              <c:numCache>
                <c:formatCode>0.0%</c:formatCode>
                <c:ptCount val="10"/>
                <c:pt idx="0">
                  <c:v>0.79305098507273208</c:v>
                </c:pt>
                <c:pt idx="1">
                  <c:v>0.81953996646108884</c:v>
                </c:pt>
                <c:pt idx="2">
                  <c:v>0.83361712085382311</c:v>
                </c:pt>
                <c:pt idx="3">
                  <c:v>0.80594729929529252</c:v>
                </c:pt>
                <c:pt idx="4">
                  <c:v>0.90616768647459234</c:v>
                </c:pt>
                <c:pt idx="5">
                  <c:v>0.9269781597880874</c:v>
                </c:pt>
                <c:pt idx="6">
                  <c:v>0.92092819728040254</c:v>
                </c:pt>
                <c:pt idx="7">
                  <c:v>0.93272922216835152</c:v>
                </c:pt>
                <c:pt idx="8">
                  <c:v>0.92576082038036422</c:v>
                </c:pt>
                <c:pt idx="9">
                  <c:v>0.90849542373077508</c:v>
                </c:pt>
              </c:numCache>
            </c:numRef>
          </c:val>
          <c:smooth val="0"/>
        </c:ser>
        <c:ser>
          <c:idx val="1"/>
          <c:order val="1"/>
          <c:tx>
            <c:v>CifraAfaceri &gt; 1 mil EUR</c:v>
          </c:tx>
          <c:spPr>
            <a:ln w="25400">
              <a:solidFill>
                <a:schemeClr val="tx2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3.5242290748898682E-2"/>
                  <c:y val="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405286343612335E-2"/>
                  <c:y val="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81791483113069E-2"/>
                  <c:y val="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2305433186490456E-2"/>
                  <c:y val="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524229074889873E-2"/>
                  <c:y val="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3.5242290748898682E-2"/>
                  <c:y val="3.7037037037037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3.5242290748898682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4.6989720998531569E-2"/>
                  <c:y val="3.7037037037037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6.1674008810572688E-2"/>
                  <c:y val="3.7037037037037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7.0484581497797363E-2"/>
                  <c:y val="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%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MARI - MICI'!$AA$20:$AA$29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AD$5:$AD$14</c:f>
              <c:numCache>
                <c:formatCode>0.0%</c:formatCode>
                <c:ptCount val="10"/>
                <c:pt idx="0">
                  <c:v>0.57587656146655108</c:v>
                </c:pt>
                <c:pt idx="1">
                  <c:v>0.55263458599355342</c:v>
                </c:pt>
                <c:pt idx="2">
                  <c:v>0.57259391430232209</c:v>
                </c:pt>
                <c:pt idx="3">
                  <c:v>0.57108677747395764</c:v>
                </c:pt>
                <c:pt idx="4">
                  <c:v>0.56859588511168502</c:v>
                </c:pt>
                <c:pt idx="5">
                  <c:v>0.55288743857105227</c:v>
                </c:pt>
                <c:pt idx="6">
                  <c:v>0.53839810934835819</c:v>
                </c:pt>
                <c:pt idx="7">
                  <c:v>0.52792892893148058</c:v>
                </c:pt>
                <c:pt idx="8">
                  <c:v>0.51631206525144768</c:v>
                </c:pt>
                <c:pt idx="9">
                  <c:v>0.437028351437266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2328064"/>
        <c:axId val="112338048"/>
      </c:lineChart>
      <c:catAx>
        <c:axId val="112328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12338048"/>
        <c:crosses val="autoZero"/>
        <c:auto val="1"/>
        <c:lblAlgn val="ctr"/>
        <c:lblOffset val="100"/>
        <c:noMultiLvlLbl val="0"/>
      </c:catAx>
      <c:valAx>
        <c:axId val="112338048"/>
        <c:scaling>
          <c:orientation val="minMax"/>
          <c:min val="0.30000000000000004"/>
        </c:scaling>
        <c:delete val="0"/>
        <c:axPos val="l"/>
        <c:numFmt formatCode="0%" sourceLinked="0"/>
        <c:majorTickMark val="none"/>
        <c:minorTickMark val="none"/>
        <c:tickLblPos val="nextTo"/>
        <c:crossAx val="11232806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1.0366182200793142E-2"/>
          <c:y val="0.86879228638086903"/>
          <c:w val="0.9367703816758588"/>
          <c:h val="0.13116506270049574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/>
              <a:t>Grafic 7. Active imobilizate % Total Active</a:t>
            </a:r>
            <a:endParaRPr lang="ro-RO" sz="120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9.7109623411610987E-2"/>
          <c:y val="0.16089129483814524"/>
          <c:w val="0.86186155144703824"/>
          <c:h val="0.61310440361621477"/>
        </c:manualLayout>
      </c:layout>
      <c:lineChart>
        <c:grouping val="standard"/>
        <c:varyColors val="0"/>
        <c:ser>
          <c:idx val="0"/>
          <c:order val="0"/>
          <c:tx>
            <c:v>CifraAfaceri &lt; 1 mil EUR</c:v>
          </c:tx>
          <c:spPr>
            <a:ln w="25400">
              <a:solidFill>
                <a:srgbClr val="FF0000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405286343612335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layout>
                <c:manualLayout>
                  <c:x val="-4.9926578560939794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8.5168869309838469E-2"/>
                  <c:y val="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delete val="1"/>
            </c:dLbl>
            <c:dLbl>
              <c:idx val="6"/>
              <c:layout>
                <c:manualLayout>
                  <c:x val="-7.0484581497797363E-2"/>
                  <c:y val="3.7037037037037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4.405286343612335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6.7547723935389131E-2"/>
                  <c:y val="6.01851851851851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1.4684519060668077E-2"/>
                  <c:y val="-9.25925925925925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MARI - MICI'!$AF$20:$AF$29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AI$20:$AI$29</c:f>
              <c:numCache>
                <c:formatCode>0%</c:formatCode>
                <c:ptCount val="10"/>
                <c:pt idx="0">
                  <c:v>0.58733343622922762</c:v>
                </c:pt>
                <c:pt idx="1">
                  <c:v>0.57971044522151871</c:v>
                </c:pt>
                <c:pt idx="2">
                  <c:v>0.5578301340360351</c:v>
                </c:pt>
                <c:pt idx="3">
                  <c:v>0.58896627453005135</c:v>
                </c:pt>
                <c:pt idx="4">
                  <c:v>0.54632496381786444</c:v>
                </c:pt>
                <c:pt idx="5">
                  <c:v>0.54855438337785734</c:v>
                </c:pt>
                <c:pt idx="6">
                  <c:v>0.51857824177048661</c:v>
                </c:pt>
                <c:pt idx="7">
                  <c:v>0.52608738888766415</c:v>
                </c:pt>
                <c:pt idx="8">
                  <c:v>0.51620184597359298</c:v>
                </c:pt>
                <c:pt idx="9">
                  <c:v>0.40989316767243561</c:v>
                </c:pt>
              </c:numCache>
            </c:numRef>
          </c:val>
          <c:smooth val="0"/>
        </c:ser>
        <c:ser>
          <c:idx val="1"/>
          <c:order val="1"/>
          <c:tx>
            <c:v>CifraAfaceri &gt; 1 mil EUR</c:v>
          </c:tx>
          <c:spPr>
            <a:ln w="25400">
              <a:solidFill>
                <a:schemeClr val="tx2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3.5242290748898682E-2"/>
                  <c:y val="-3.7037037037037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delete val="1"/>
            </c:dLbl>
            <c:dLbl>
              <c:idx val="2"/>
              <c:layout>
                <c:manualLayout>
                  <c:x val="-3.2305433186490456E-2"/>
                  <c:y val="-5.55555555555555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layout>
                <c:manualLayout>
                  <c:x val="8.8105726872246704E-3"/>
                  <c:y val="-1.38888888888888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layout>
                <c:manualLayout>
                  <c:x val="-6.1674008810572688E-2"/>
                  <c:y val="-1.38888888888888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2.6431949310300969E-2"/>
                  <c:y val="-5.55555555555555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MARI - MICI'!$AF$20:$AF$29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AI$5:$AI$14</c:f>
              <c:numCache>
                <c:formatCode>0%</c:formatCode>
                <c:ptCount val="10"/>
                <c:pt idx="0">
                  <c:v>0.60558839655997942</c:v>
                </c:pt>
                <c:pt idx="1">
                  <c:v>0.60738544561397723</c:v>
                </c:pt>
                <c:pt idx="2">
                  <c:v>0.56638068383498663</c:v>
                </c:pt>
                <c:pt idx="3">
                  <c:v>0.57528382571776759</c:v>
                </c:pt>
                <c:pt idx="4">
                  <c:v>0.55847158515970896</c:v>
                </c:pt>
                <c:pt idx="5">
                  <c:v>0.56929694680927567</c:v>
                </c:pt>
                <c:pt idx="6">
                  <c:v>0.56504613075930832</c:v>
                </c:pt>
                <c:pt idx="7">
                  <c:v>0.56138450300296139</c:v>
                </c:pt>
                <c:pt idx="8">
                  <c:v>0.56145670892462218</c:v>
                </c:pt>
                <c:pt idx="9">
                  <c:v>0.4352226064024213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2478080"/>
        <c:axId val="112479616"/>
      </c:lineChart>
      <c:catAx>
        <c:axId val="112478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12479616"/>
        <c:crosses val="autoZero"/>
        <c:auto val="1"/>
        <c:lblAlgn val="ctr"/>
        <c:lblOffset val="100"/>
        <c:noMultiLvlLbl val="0"/>
      </c:catAx>
      <c:valAx>
        <c:axId val="112479616"/>
        <c:scaling>
          <c:orientation val="minMax"/>
          <c:min val="0.4"/>
        </c:scaling>
        <c:delete val="0"/>
        <c:axPos val="l"/>
        <c:numFmt formatCode="0%" sourceLinked="1"/>
        <c:majorTickMark val="none"/>
        <c:minorTickMark val="none"/>
        <c:tickLblPos val="nextTo"/>
        <c:crossAx val="1124780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1.9176754888017813E-2"/>
          <c:y val="0.88731080489938763"/>
          <c:w val="0.95145466948789992"/>
          <c:h val="0.11264654418197723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 dirty="0" err="1"/>
              <a:t>Grafic</a:t>
            </a:r>
            <a:r>
              <a:rPr lang="en-US" sz="1200" dirty="0"/>
              <a:t> 8. </a:t>
            </a:r>
            <a:r>
              <a:rPr lang="en-US" sz="1200" dirty="0" err="1"/>
              <a:t>Cifra</a:t>
            </a:r>
            <a:r>
              <a:rPr lang="en-US" sz="1200" baseline="0" dirty="0"/>
              <a:t> </a:t>
            </a:r>
            <a:r>
              <a:rPr lang="en-US" sz="1200" baseline="0" dirty="0" err="1" smtClean="0"/>
              <a:t>afaceri</a:t>
            </a:r>
            <a:r>
              <a:rPr lang="en-US" sz="1200" baseline="0" dirty="0" smtClean="0"/>
              <a:t>: </a:t>
            </a:r>
            <a:r>
              <a:rPr lang="en-US" sz="1200" baseline="0" dirty="0"/>
              <a:t>Active </a:t>
            </a:r>
            <a:r>
              <a:rPr lang="en-US" sz="1200" baseline="0" dirty="0" err="1"/>
              <a:t>imobilizate</a:t>
            </a:r>
            <a:endParaRPr lang="ro-RO" sz="1200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9.832853492432389E-2"/>
          <c:y val="0.16089129483814524"/>
          <c:w val="0.85476892480950906"/>
          <c:h val="0.62699329250510361"/>
        </c:manualLayout>
      </c:layout>
      <c:lineChart>
        <c:grouping val="standard"/>
        <c:varyColors val="0"/>
        <c:ser>
          <c:idx val="0"/>
          <c:order val="0"/>
          <c:tx>
            <c:v>CifraAfaceri &lt; 1 mil EUR</c:v>
          </c:tx>
          <c:spPr>
            <a:ln w="25400">
              <a:solidFill>
                <a:srgbClr val="FF0000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4.405286343612335E-2"/>
                  <c:y val="5.55555555555555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4052863436123378E-2"/>
                  <c:y val="2.31481481481481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81791483113069E-2"/>
                  <c:y val="5.09259259259259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643171806167401E-2"/>
                  <c:y val="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81791483113069E-2"/>
                  <c:y val="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3.5242290748898682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3.5242290748898682E-2"/>
                  <c:y val="3.7037037037037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3.8179148311307011E-2"/>
                  <c:y val="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3.5242290748898682E-2"/>
                  <c:y val="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4.1116005873715125E-2"/>
                  <c:y val="5.09259259259259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MARI - MICI'!$AK$20:$AK$29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AN$20:$AN$29</c:f>
              <c:numCache>
                <c:formatCode>0.00</c:formatCode>
                <c:ptCount val="10"/>
                <c:pt idx="0">
                  <c:v>1.3465802968961482</c:v>
                </c:pt>
                <c:pt idx="1">
                  <c:v>1.2182308613235167</c:v>
                </c:pt>
                <c:pt idx="2">
                  <c:v>1.1898990873310453</c:v>
                </c:pt>
                <c:pt idx="3">
                  <c:v>0.98635450195400498</c:v>
                </c:pt>
                <c:pt idx="4">
                  <c:v>1.0574645852971438</c:v>
                </c:pt>
                <c:pt idx="5">
                  <c:v>0.96791214053128716</c:v>
                </c:pt>
                <c:pt idx="6">
                  <c:v>0.9396084838548755</c:v>
                </c:pt>
                <c:pt idx="7">
                  <c:v>0.92092667429152064</c:v>
                </c:pt>
                <c:pt idx="8">
                  <c:v>0.97973263159680801</c:v>
                </c:pt>
                <c:pt idx="9">
                  <c:v>1.1732748068544636</c:v>
                </c:pt>
              </c:numCache>
            </c:numRef>
          </c:val>
          <c:smooth val="0"/>
        </c:ser>
        <c:ser>
          <c:idx val="1"/>
          <c:order val="1"/>
          <c:tx>
            <c:v>CifraAfaceri &gt; 1 mil EUR</c:v>
          </c:tx>
          <c:spPr>
            <a:ln w="25400">
              <a:solidFill>
                <a:schemeClr val="tx2"/>
              </a:solidFill>
            </a:ln>
          </c:spPr>
          <c:marker>
            <c:symbol val="none"/>
          </c:marker>
          <c:dLbls>
            <c:dLbl>
              <c:idx val="0"/>
              <c:delete val="1"/>
            </c:dLbl>
            <c:dLbl>
              <c:idx val="1"/>
              <c:layout>
                <c:manualLayout>
                  <c:x val="-4.4052863436123378E-2"/>
                  <c:y val="-2.77777777777778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81791483113069E-2"/>
                  <c:y val="-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5242290748898682E-2"/>
                  <c:y val="-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643171806167401E-2"/>
                  <c:y val="-3.24074074074074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0558002936857563E-2"/>
                  <c:y val="-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1.7621145374449341E-2"/>
                  <c:y val="-2.7777777777777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2.936857562408331E-3"/>
                  <c:y val="-4.6296296296296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delete val="1"/>
            </c:dLbl>
            <c:dLbl>
              <c:idx val="9"/>
              <c:layout>
                <c:manualLayout>
                  <c:x val="-9.3979441997063137E-2"/>
                  <c:y val="1.38888888888888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MARI - MICI'!$AK$20:$AK$29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AN$5:$AN$14</c:f>
              <c:numCache>
                <c:formatCode>0.00</c:formatCode>
                <c:ptCount val="10"/>
                <c:pt idx="0">
                  <c:v>1.3054037085811974</c:v>
                </c:pt>
                <c:pt idx="1">
                  <c:v>1.4667391690602851</c:v>
                </c:pt>
                <c:pt idx="2">
                  <c:v>1.7211957777086884</c:v>
                </c:pt>
                <c:pt idx="3">
                  <c:v>1.6284777567147828</c:v>
                </c:pt>
                <c:pt idx="4">
                  <c:v>1.6633285879231523</c:v>
                </c:pt>
                <c:pt idx="5">
                  <c:v>1.787964574733506</c:v>
                </c:pt>
                <c:pt idx="6">
                  <c:v>1.7689690057855036</c:v>
                </c:pt>
                <c:pt idx="7">
                  <c:v>1.8166585871155925</c:v>
                </c:pt>
                <c:pt idx="8">
                  <c:v>1.8497081885306697</c:v>
                </c:pt>
                <c:pt idx="9">
                  <c:v>2.375424367419004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3054848"/>
        <c:axId val="113056384"/>
      </c:lineChart>
      <c:catAx>
        <c:axId val="113054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13056384"/>
        <c:crosses val="autoZero"/>
        <c:auto val="1"/>
        <c:lblAlgn val="ctr"/>
        <c:lblOffset val="100"/>
        <c:noMultiLvlLbl val="0"/>
      </c:catAx>
      <c:valAx>
        <c:axId val="113056384"/>
        <c:scaling>
          <c:orientation val="minMax"/>
          <c:min val="0"/>
        </c:scaling>
        <c:delete val="0"/>
        <c:axPos val="l"/>
        <c:numFmt formatCode="0.00" sourceLinked="1"/>
        <c:majorTickMark val="none"/>
        <c:minorTickMark val="none"/>
        <c:tickLblPos val="nextTo"/>
        <c:crossAx val="11305484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1.6239897325609588E-2"/>
          <c:y val="0.85490339749198019"/>
          <c:w val="0.9367703816758588"/>
          <c:h val="0.14505395158938464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o-R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200"/>
              <a:t>Grafic 9.</a:t>
            </a:r>
            <a:r>
              <a:rPr lang="en-US" sz="1200" baseline="0"/>
              <a:t> Viteza de colectare a creantelor</a:t>
            </a:r>
            <a:endParaRPr lang="ro-RO" sz="1200"/>
          </a:p>
        </c:rich>
      </c:tx>
      <c:layout>
        <c:manualLayout>
          <c:xMode val="edge"/>
          <c:yMode val="edge"/>
          <c:x val="0.24378114629944383"/>
          <c:y val="2.7777777777777776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7.631667186976078E-2"/>
          <c:y val="0.16089129483814521"/>
          <c:w val="0.92022130493600196"/>
          <c:h val="0.63625255176436291"/>
        </c:manualLayout>
      </c:layout>
      <c:lineChart>
        <c:grouping val="standard"/>
        <c:varyColors val="0"/>
        <c:ser>
          <c:idx val="0"/>
          <c:order val="0"/>
          <c:tx>
            <c:v>CifraAfaceri &lt; 1 mil EUR</c:v>
          </c:tx>
          <c:spPr>
            <a:ln w="25400">
              <a:solidFill>
                <a:srgbClr val="FF0000"/>
              </a:solidFill>
            </a:ln>
          </c:spPr>
          <c:marker>
            <c:symbol val="none"/>
          </c:marker>
          <c:dLbls>
            <c:dLbl>
              <c:idx val="0"/>
              <c:delete val="1"/>
            </c:dLbl>
            <c:dLbl>
              <c:idx val="5"/>
              <c:layout>
                <c:manualLayout>
                  <c:x val="0"/>
                  <c:y val="-1.38888888888888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2.643171806167401E-2"/>
                  <c:y val="4.62962962962963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2.3494860499265784E-2"/>
                  <c:y val="5.09259259259259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1.7621145374449341E-2"/>
                  <c:y val="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1.76213766230763E-2"/>
                  <c:y val="-2.10018873296527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MARI - MICI'!$AP$20:$AP$29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AS$20:$AS$29</c:f>
              <c:numCache>
                <c:formatCode>_-* #,##0\ _l_e_i_-;\-* #,##0\ _l_e_i_-;_-* "-"??\ _l_e_i_-;_-@_-</c:formatCode>
                <c:ptCount val="10"/>
                <c:pt idx="0">
                  <c:v>88.928785254338251</c:v>
                </c:pt>
                <c:pt idx="1">
                  <c:v>108.75945221820349</c:v>
                </c:pt>
                <c:pt idx="2">
                  <c:v>126.67604523945892</c:v>
                </c:pt>
                <c:pt idx="3">
                  <c:v>137.14662369291636</c:v>
                </c:pt>
                <c:pt idx="4">
                  <c:v>154.10105284350905</c:v>
                </c:pt>
                <c:pt idx="5">
                  <c:v>167.11569161721812</c:v>
                </c:pt>
                <c:pt idx="6">
                  <c:v>196.12510263535003</c:v>
                </c:pt>
                <c:pt idx="7">
                  <c:v>191.82803788295507</c:v>
                </c:pt>
                <c:pt idx="8">
                  <c:v>187.26151304090143</c:v>
                </c:pt>
                <c:pt idx="9">
                  <c:v>198.61069360901743</c:v>
                </c:pt>
              </c:numCache>
            </c:numRef>
          </c:val>
          <c:smooth val="0"/>
        </c:ser>
        <c:ser>
          <c:idx val="1"/>
          <c:order val="1"/>
          <c:tx>
            <c:v>CifraAfaceri &gt; 1 mil EUR</c:v>
          </c:tx>
          <c:spPr>
            <a:ln w="25400">
              <a:solidFill>
                <a:schemeClr val="tx2"/>
              </a:solidFill>
            </a:ln>
          </c:spPr>
          <c:marker>
            <c:symbol val="none"/>
          </c:marker>
          <c:dLbls>
            <c:dLbl>
              <c:idx val="1"/>
              <c:layout>
                <c:manualLayout>
                  <c:x val="-2.0558002936857563E-2"/>
                  <c:y val="3.70370370370370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3494860499265784E-2"/>
                  <c:y val="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1.7621145374449341E-2"/>
                  <c:y val="3.2407407407407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81791483113069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9368575624082231E-2"/>
                  <c:y val="5.09259259259259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delete val="1"/>
            </c:dLbl>
            <c:dLbl>
              <c:idx val="7"/>
              <c:layout>
                <c:manualLayout>
                  <c:x val="-0.11453744493392071"/>
                  <c:y val="1.85185185185185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0.10572687224669604"/>
                  <c:y val="4.16666666666667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8.223201174743025E-2"/>
                  <c:y val="2.31481481481481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'MARI - MICI'!$AP$20:$AP$29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'MARI - MICI'!$AS$5:$AS$14</c:f>
              <c:numCache>
                <c:formatCode>_-* #,##0\ _l_e_i_-;\-* #,##0\ _l_e_i_-;_-* "-"??\ _l_e_i_-;_-@_-</c:formatCode>
                <c:ptCount val="10"/>
                <c:pt idx="0">
                  <c:v>95.359162377552067</c:v>
                </c:pt>
                <c:pt idx="1">
                  <c:v>88.05875069408286</c:v>
                </c:pt>
                <c:pt idx="2">
                  <c:v>91.854857368605536</c:v>
                </c:pt>
                <c:pt idx="3">
                  <c:v>94.715061401508066</c:v>
                </c:pt>
                <c:pt idx="4">
                  <c:v>99.665784451201347</c:v>
                </c:pt>
                <c:pt idx="5">
                  <c:v>87.181672729686142</c:v>
                </c:pt>
                <c:pt idx="6">
                  <c:v>88.66528638674508</c:v>
                </c:pt>
                <c:pt idx="7">
                  <c:v>82.087326033682444</c:v>
                </c:pt>
                <c:pt idx="8">
                  <c:v>79.014363989115779</c:v>
                </c:pt>
                <c:pt idx="9">
                  <c:v>68.83865468444616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2872832"/>
        <c:axId val="112874624"/>
      </c:lineChart>
      <c:catAx>
        <c:axId val="112872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12874624"/>
        <c:crosses val="autoZero"/>
        <c:auto val="1"/>
        <c:lblAlgn val="ctr"/>
        <c:lblOffset val="100"/>
        <c:noMultiLvlLbl val="0"/>
      </c:catAx>
      <c:valAx>
        <c:axId val="112874624"/>
        <c:scaling>
          <c:orientation val="minMax"/>
          <c:max val="200"/>
          <c:min val="60"/>
        </c:scaling>
        <c:delete val="0"/>
        <c:axPos val="l"/>
        <c:numFmt formatCode="#,##0" sourceLinked="0"/>
        <c:majorTickMark val="none"/>
        <c:minorTickMark val="none"/>
        <c:tickLblPos val="nextTo"/>
        <c:crossAx val="11287283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1.3905442436435515E-2"/>
          <c:y val="0.87380577427821526"/>
          <c:w val="0.94264409680067529"/>
          <c:h val="0.11727617381160686"/>
        </c:manualLayout>
      </c:layout>
      <c:overlay val="0"/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o-R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C7F9D1-DD1C-4229-A33E-3D1F44197B50}" type="datetimeFigureOut">
              <a:rPr lang="ro-RO" smtClean="0"/>
              <a:t>17.09.2018</a:t>
            </a:fld>
            <a:endParaRPr lang="ro-R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o-R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o-R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o-R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F89AB8-BECB-4833-8498-82BD13E24D62}" type="slidenum">
              <a:rPr lang="ro-RO" smtClean="0"/>
              <a:t>‹#›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15500816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57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ro-RO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B8929E6-826F-41A0-99F3-33C8D5AE6DB1}" type="slidenum">
              <a:rPr lang="fr-FR" smtClean="0"/>
              <a:pPr>
                <a:defRPr/>
              </a:pPr>
              <a:t>7</a:t>
            </a:fld>
            <a:endParaRPr lang="fr-F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r le style des sous-titres du masque</a:t>
            </a:r>
          </a:p>
        </p:txBody>
      </p:sp>
      <p:sp>
        <p:nvSpPr>
          <p:cNvPr id="2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395288" y="6518709"/>
            <a:ext cx="148314" cy="148312"/>
          </a:xfrm>
          <a:prstGeom prst="rect">
            <a:avLst/>
          </a:prstGeom>
          <a:solidFill>
            <a:schemeClr val="bg2"/>
          </a:solidFill>
        </p:spPr>
        <p:txBody>
          <a:bodyPr vert="horz" wrap="none" lIns="91440" tIns="45720" rIns="91440" bIns="45720" rtlCol="0" anchor="ctr"/>
          <a:lstStyle>
            <a:lvl1pPr algn="ctr">
              <a:defRPr sz="800" b="1">
                <a:solidFill>
                  <a:schemeClr val="bg1"/>
                </a:solidFill>
              </a:defRPr>
            </a:lvl1pPr>
          </a:lstStyle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4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97072" y="6531309"/>
            <a:ext cx="4284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25" name="Espace réservé du texte 18"/>
          <p:cNvSpPr>
            <a:spLocks noGrp="1"/>
          </p:cNvSpPr>
          <p:nvPr>
            <p:ph type="body" sz="quarter" idx="13" hasCustomPrompt="1"/>
          </p:nvPr>
        </p:nvSpPr>
        <p:spPr>
          <a:xfrm>
            <a:off x="619125" y="6534149"/>
            <a:ext cx="3600" cy="118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49819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r le style des sous-titres du masque</a:t>
            </a:r>
          </a:p>
        </p:txBody>
      </p:sp>
      <p:sp>
        <p:nvSpPr>
          <p:cNvPr id="2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395288" y="6518709"/>
            <a:ext cx="148314" cy="148312"/>
          </a:xfrm>
          <a:prstGeom prst="rect">
            <a:avLst/>
          </a:prstGeom>
          <a:solidFill>
            <a:schemeClr val="bg2"/>
          </a:solidFill>
        </p:spPr>
        <p:txBody>
          <a:bodyPr vert="horz" wrap="none" lIns="91440" tIns="45720" rIns="91440" bIns="45720" rtlCol="0" anchor="ctr"/>
          <a:lstStyle>
            <a:lvl1pPr algn="ctr">
              <a:defRPr sz="800" b="1">
                <a:solidFill>
                  <a:schemeClr val="bg1"/>
                </a:solidFill>
              </a:defRPr>
            </a:lvl1pPr>
          </a:lstStyle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4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97072" y="6531309"/>
            <a:ext cx="4284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25" name="Espace réservé du texte 18"/>
          <p:cNvSpPr>
            <a:spLocks noGrp="1"/>
          </p:cNvSpPr>
          <p:nvPr>
            <p:ph type="body" sz="quarter" idx="13" hasCustomPrompt="1"/>
          </p:nvPr>
        </p:nvSpPr>
        <p:spPr>
          <a:xfrm>
            <a:off x="619125" y="6534149"/>
            <a:ext cx="3600" cy="118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082260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5"/>
          </p:nvPr>
        </p:nvSpPr>
        <p:spPr>
          <a:xfrm>
            <a:off x="2677794" y="0"/>
            <a:ext cx="9704705" cy="6857999"/>
          </a:xfrm>
          <a:prstGeom prst="parallelogram">
            <a:avLst>
              <a:gd name="adj" fmla="val 44390"/>
            </a:avLst>
          </a:prstGeom>
          <a:noFill/>
        </p:spPr>
        <p:txBody>
          <a:bodyPr anchor="ctr"/>
          <a:lstStyle>
            <a:lvl1pPr marL="0" indent="0">
              <a:buNone/>
              <a:defRPr/>
            </a:lvl1pPr>
          </a:lstStyle>
          <a:p>
            <a:endParaRPr lang="fr-FR" dirty="0"/>
          </a:p>
        </p:txBody>
      </p:sp>
      <p:sp>
        <p:nvSpPr>
          <p:cNvPr id="11" name="Espace réservé du texte 44"/>
          <p:cNvSpPr>
            <a:spLocks noGrp="1"/>
          </p:cNvSpPr>
          <p:nvPr>
            <p:ph type="body" sz="quarter" idx="13"/>
          </p:nvPr>
        </p:nvSpPr>
        <p:spPr>
          <a:xfrm>
            <a:off x="395287" y="395288"/>
            <a:ext cx="8353426" cy="655564"/>
          </a:xfrm>
          <a:blipFill dpi="0" rotWithShape="1">
            <a:blip r:embed="rId2"/>
            <a:srcRect/>
            <a:tile tx="6350" ty="0" sx="100000" sy="100000" flip="none" algn="tl"/>
          </a:blipFill>
        </p:spPr>
        <p:txBody>
          <a:bodyPr wrap="square" bIns="0">
            <a:spAutoFit/>
          </a:bodyPr>
          <a:lstStyle>
            <a:lvl1pPr marL="0" indent="0">
              <a:spcBef>
                <a:spcPts val="0"/>
              </a:spcBef>
              <a:buNone/>
              <a:defRPr sz="240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000" cap="all" baseline="0">
                <a:solidFill>
                  <a:schemeClr val="bg2"/>
                </a:solidFill>
              </a:defRPr>
            </a:lvl2pPr>
            <a:lvl3pPr marL="685800" indent="0">
              <a:buNone/>
              <a:defRPr/>
            </a:lvl3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0636" y="5905500"/>
            <a:ext cx="1552974" cy="490539"/>
            <a:chOff x="-8151813" y="-601663"/>
            <a:chExt cx="25546051" cy="8069263"/>
          </a:xfrm>
        </p:grpSpPr>
        <p:sp>
          <p:nvSpPr>
            <p:cNvPr id="13" name="Freeform 27"/>
            <p:cNvSpPr>
              <a:spLocks/>
            </p:cNvSpPr>
            <p:nvPr userDrawn="1"/>
          </p:nvSpPr>
          <p:spPr bwMode="auto">
            <a:xfrm>
              <a:off x="3244850" y="1512888"/>
              <a:ext cx="4573588" cy="3840163"/>
            </a:xfrm>
            <a:custGeom>
              <a:avLst/>
              <a:gdLst>
                <a:gd name="T0" fmla="*/ 550 w 555"/>
                <a:gd name="T1" fmla="*/ 457 h 465"/>
                <a:gd name="T2" fmla="*/ 555 w 555"/>
                <a:gd name="T3" fmla="*/ 451 h 465"/>
                <a:gd name="T4" fmla="*/ 555 w 555"/>
                <a:gd name="T5" fmla="*/ 254 h 465"/>
                <a:gd name="T6" fmla="*/ 277 w 555"/>
                <a:gd name="T7" fmla="*/ 0 h 465"/>
                <a:gd name="T8" fmla="*/ 0 w 555"/>
                <a:gd name="T9" fmla="*/ 241 h 465"/>
                <a:gd name="T10" fmla="*/ 264 w 555"/>
                <a:gd name="T11" fmla="*/ 465 h 465"/>
                <a:gd name="T12" fmla="*/ 344 w 555"/>
                <a:gd name="T13" fmla="*/ 457 h 465"/>
                <a:gd name="T14" fmla="*/ 362 w 555"/>
                <a:gd name="T15" fmla="*/ 399 h 465"/>
                <a:gd name="T16" fmla="*/ 355 w 555"/>
                <a:gd name="T17" fmla="*/ 390 h 465"/>
                <a:gd name="T18" fmla="*/ 272 w 555"/>
                <a:gd name="T19" fmla="*/ 405 h 465"/>
                <a:gd name="T20" fmla="*/ 110 w 555"/>
                <a:gd name="T21" fmla="*/ 240 h 465"/>
                <a:gd name="T22" fmla="*/ 281 w 555"/>
                <a:gd name="T23" fmla="*/ 60 h 465"/>
                <a:gd name="T24" fmla="*/ 447 w 555"/>
                <a:gd name="T25" fmla="*/ 252 h 465"/>
                <a:gd name="T26" fmla="*/ 447 w 555"/>
                <a:gd name="T27" fmla="*/ 451 h 465"/>
                <a:gd name="T28" fmla="*/ 452 w 555"/>
                <a:gd name="T29" fmla="*/ 457 h 465"/>
                <a:gd name="T30" fmla="*/ 550 w 555"/>
                <a:gd name="T31" fmla="*/ 45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5" h="465">
                  <a:moveTo>
                    <a:pt x="550" y="457"/>
                  </a:moveTo>
                  <a:cubicBezTo>
                    <a:pt x="555" y="457"/>
                    <a:pt x="555" y="454"/>
                    <a:pt x="555" y="451"/>
                  </a:cubicBezTo>
                  <a:cubicBezTo>
                    <a:pt x="555" y="254"/>
                    <a:pt x="555" y="254"/>
                    <a:pt x="555" y="254"/>
                  </a:cubicBezTo>
                  <a:cubicBezTo>
                    <a:pt x="555" y="112"/>
                    <a:pt x="481" y="0"/>
                    <a:pt x="277" y="0"/>
                  </a:cubicBezTo>
                  <a:cubicBezTo>
                    <a:pt x="115" y="0"/>
                    <a:pt x="0" y="91"/>
                    <a:pt x="0" y="241"/>
                  </a:cubicBezTo>
                  <a:cubicBezTo>
                    <a:pt x="0" y="362"/>
                    <a:pt x="73" y="465"/>
                    <a:pt x="264" y="465"/>
                  </a:cubicBezTo>
                  <a:cubicBezTo>
                    <a:pt x="292" y="465"/>
                    <a:pt x="319" y="462"/>
                    <a:pt x="344" y="457"/>
                  </a:cubicBezTo>
                  <a:cubicBezTo>
                    <a:pt x="362" y="399"/>
                    <a:pt x="362" y="399"/>
                    <a:pt x="362" y="399"/>
                  </a:cubicBezTo>
                  <a:cubicBezTo>
                    <a:pt x="364" y="392"/>
                    <a:pt x="360" y="389"/>
                    <a:pt x="355" y="390"/>
                  </a:cubicBezTo>
                  <a:cubicBezTo>
                    <a:pt x="329" y="400"/>
                    <a:pt x="304" y="405"/>
                    <a:pt x="272" y="405"/>
                  </a:cubicBezTo>
                  <a:cubicBezTo>
                    <a:pt x="145" y="405"/>
                    <a:pt x="110" y="316"/>
                    <a:pt x="110" y="240"/>
                  </a:cubicBezTo>
                  <a:cubicBezTo>
                    <a:pt x="110" y="127"/>
                    <a:pt x="176" y="60"/>
                    <a:pt x="281" y="60"/>
                  </a:cubicBezTo>
                  <a:cubicBezTo>
                    <a:pt x="408" y="60"/>
                    <a:pt x="447" y="137"/>
                    <a:pt x="447" y="252"/>
                  </a:cubicBezTo>
                  <a:cubicBezTo>
                    <a:pt x="447" y="451"/>
                    <a:pt x="447" y="451"/>
                    <a:pt x="447" y="451"/>
                  </a:cubicBezTo>
                  <a:cubicBezTo>
                    <a:pt x="447" y="455"/>
                    <a:pt x="449" y="457"/>
                    <a:pt x="452" y="457"/>
                  </a:cubicBezTo>
                  <a:lnTo>
                    <a:pt x="550" y="457"/>
                  </a:lnTo>
                  <a:close/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377825" y="-601663"/>
              <a:ext cx="3913188" cy="5889625"/>
            </a:xfrm>
            <a:custGeom>
              <a:avLst/>
              <a:gdLst>
                <a:gd name="T0" fmla="*/ 434 w 475"/>
                <a:gd name="T1" fmla="*/ 95 h 713"/>
                <a:gd name="T2" fmla="*/ 443 w 475"/>
                <a:gd name="T3" fmla="*/ 94 h 713"/>
                <a:gd name="T4" fmla="*/ 475 w 475"/>
                <a:gd name="T5" fmla="*/ 30 h 713"/>
                <a:gd name="T6" fmla="*/ 308 w 475"/>
                <a:gd name="T7" fmla="*/ 0 h 713"/>
                <a:gd name="T8" fmla="*/ 70 w 475"/>
                <a:gd name="T9" fmla="*/ 225 h 713"/>
                <a:gd name="T10" fmla="*/ 70 w 475"/>
                <a:gd name="T11" fmla="*/ 274 h 713"/>
                <a:gd name="T12" fmla="*/ 6 w 475"/>
                <a:gd name="T13" fmla="*/ 274 h 713"/>
                <a:gd name="T14" fmla="*/ 0 w 475"/>
                <a:gd name="T15" fmla="*/ 280 h 713"/>
                <a:gd name="T16" fmla="*/ 0 w 475"/>
                <a:gd name="T17" fmla="*/ 318 h 713"/>
                <a:gd name="T18" fmla="*/ 6 w 475"/>
                <a:gd name="T19" fmla="*/ 324 h 713"/>
                <a:gd name="T20" fmla="*/ 71 w 475"/>
                <a:gd name="T21" fmla="*/ 324 h 713"/>
                <a:gd name="T22" fmla="*/ 71 w 475"/>
                <a:gd name="T23" fmla="*/ 707 h 713"/>
                <a:gd name="T24" fmla="*/ 77 w 475"/>
                <a:gd name="T25" fmla="*/ 713 h 713"/>
                <a:gd name="T26" fmla="*/ 164 w 475"/>
                <a:gd name="T27" fmla="*/ 713 h 713"/>
                <a:gd name="T28" fmla="*/ 168 w 475"/>
                <a:gd name="T29" fmla="*/ 707 h 713"/>
                <a:gd name="T30" fmla="*/ 168 w 475"/>
                <a:gd name="T31" fmla="*/ 324 h 713"/>
                <a:gd name="T32" fmla="*/ 288 w 475"/>
                <a:gd name="T33" fmla="*/ 324 h 713"/>
                <a:gd name="T34" fmla="*/ 297 w 475"/>
                <a:gd name="T35" fmla="*/ 318 h 713"/>
                <a:gd name="T36" fmla="*/ 316 w 475"/>
                <a:gd name="T37" fmla="*/ 280 h 713"/>
                <a:gd name="T38" fmla="*/ 310 w 475"/>
                <a:gd name="T39" fmla="*/ 274 h 713"/>
                <a:gd name="T40" fmla="*/ 168 w 475"/>
                <a:gd name="T41" fmla="*/ 274 h 713"/>
                <a:gd name="T42" fmla="*/ 168 w 475"/>
                <a:gd name="T43" fmla="*/ 211 h 713"/>
                <a:gd name="T44" fmla="*/ 311 w 475"/>
                <a:gd name="T45" fmla="*/ 59 h 713"/>
                <a:gd name="T46" fmla="*/ 434 w 475"/>
                <a:gd name="T47" fmla="*/ 95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5" h="713">
                  <a:moveTo>
                    <a:pt x="434" y="95"/>
                  </a:moveTo>
                  <a:cubicBezTo>
                    <a:pt x="437" y="98"/>
                    <a:pt x="441" y="98"/>
                    <a:pt x="443" y="94"/>
                  </a:cubicBezTo>
                  <a:cubicBezTo>
                    <a:pt x="475" y="30"/>
                    <a:pt x="475" y="30"/>
                    <a:pt x="475" y="30"/>
                  </a:cubicBezTo>
                  <a:cubicBezTo>
                    <a:pt x="436" y="12"/>
                    <a:pt x="368" y="0"/>
                    <a:pt x="308" y="0"/>
                  </a:cubicBezTo>
                  <a:cubicBezTo>
                    <a:pt x="170" y="0"/>
                    <a:pt x="70" y="72"/>
                    <a:pt x="70" y="225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6" y="274"/>
                    <a:pt x="6" y="274"/>
                    <a:pt x="6" y="274"/>
                  </a:cubicBezTo>
                  <a:cubicBezTo>
                    <a:pt x="3" y="274"/>
                    <a:pt x="0" y="276"/>
                    <a:pt x="0" y="280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3" y="324"/>
                    <a:pt x="6" y="324"/>
                  </a:cubicBezTo>
                  <a:cubicBezTo>
                    <a:pt x="71" y="324"/>
                    <a:pt x="71" y="324"/>
                    <a:pt x="71" y="324"/>
                  </a:cubicBezTo>
                  <a:cubicBezTo>
                    <a:pt x="71" y="707"/>
                    <a:pt x="71" y="707"/>
                    <a:pt x="71" y="707"/>
                  </a:cubicBezTo>
                  <a:cubicBezTo>
                    <a:pt x="71" y="710"/>
                    <a:pt x="73" y="713"/>
                    <a:pt x="77" y="713"/>
                  </a:cubicBezTo>
                  <a:cubicBezTo>
                    <a:pt x="164" y="713"/>
                    <a:pt x="164" y="713"/>
                    <a:pt x="164" y="713"/>
                  </a:cubicBezTo>
                  <a:cubicBezTo>
                    <a:pt x="167" y="713"/>
                    <a:pt x="168" y="710"/>
                    <a:pt x="168" y="707"/>
                  </a:cubicBezTo>
                  <a:cubicBezTo>
                    <a:pt x="168" y="324"/>
                    <a:pt x="168" y="324"/>
                    <a:pt x="168" y="324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93" y="324"/>
                    <a:pt x="295" y="322"/>
                    <a:pt x="297" y="318"/>
                  </a:cubicBezTo>
                  <a:cubicBezTo>
                    <a:pt x="316" y="280"/>
                    <a:pt x="316" y="280"/>
                    <a:pt x="316" y="280"/>
                  </a:cubicBezTo>
                  <a:cubicBezTo>
                    <a:pt x="317" y="276"/>
                    <a:pt x="314" y="274"/>
                    <a:pt x="310" y="274"/>
                  </a:cubicBezTo>
                  <a:cubicBezTo>
                    <a:pt x="168" y="274"/>
                    <a:pt x="168" y="274"/>
                    <a:pt x="168" y="274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134"/>
                    <a:pt x="200" y="59"/>
                    <a:pt x="311" y="59"/>
                  </a:cubicBezTo>
                  <a:cubicBezTo>
                    <a:pt x="362" y="59"/>
                    <a:pt x="404" y="75"/>
                    <a:pt x="434" y="95"/>
                  </a:cubicBezTo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5" name="Freeform 29"/>
            <p:cNvSpPr>
              <a:spLocks/>
            </p:cNvSpPr>
            <p:nvPr userDrawn="1"/>
          </p:nvSpPr>
          <p:spPr bwMode="auto">
            <a:xfrm>
              <a:off x="12779375" y="1504950"/>
              <a:ext cx="4614863" cy="3857625"/>
            </a:xfrm>
            <a:custGeom>
              <a:avLst/>
              <a:gdLst>
                <a:gd name="T0" fmla="*/ 466 w 560"/>
                <a:gd name="T1" fmla="*/ 446 h 467"/>
                <a:gd name="T2" fmla="*/ 495 w 560"/>
                <a:gd name="T3" fmla="*/ 391 h 467"/>
                <a:gd name="T4" fmla="*/ 489 w 560"/>
                <a:gd name="T5" fmla="*/ 384 h 467"/>
                <a:gd name="T6" fmla="*/ 324 w 560"/>
                <a:gd name="T7" fmla="*/ 407 h 467"/>
                <a:gd name="T8" fmla="*/ 111 w 560"/>
                <a:gd name="T9" fmla="*/ 235 h 467"/>
                <a:gd name="T10" fmla="*/ 285 w 560"/>
                <a:gd name="T11" fmla="*/ 56 h 467"/>
                <a:gd name="T12" fmla="*/ 439 w 560"/>
                <a:gd name="T13" fmla="*/ 207 h 467"/>
                <a:gd name="T14" fmla="*/ 172 w 560"/>
                <a:gd name="T15" fmla="*/ 207 h 467"/>
                <a:gd name="T16" fmla="*/ 165 w 560"/>
                <a:gd name="T17" fmla="*/ 213 h 467"/>
                <a:gd name="T18" fmla="*/ 165 w 560"/>
                <a:gd name="T19" fmla="*/ 250 h 467"/>
                <a:gd name="T20" fmla="*/ 172 w 560"/>
                <a:gd name="T21" fmla="*/ 256 h 467"/>
                <a:gd name="T22" fmla="*/ 535 w 560"/>
                <a:gd name="T23" fmla="*/ 256 h 467"/>
                <a:gd name="T24" fmla="*/ 547 w 560"/>
                <a:gd name="T25" fmla="*/ 248 h 467"/>
                <a:gd name="T26" fmla="*/ 285 w 560"/>
                <a:gd name="T27" fmla="*/ 0 h 467"/>
                <a:gd name="T28" fmla="*/ 0 w 560"/>
                <a:gd name="T29" fmla="*/ 235 h 467"/>
                <a:gd name="T30" fmla="*/ 308 w 560"/>
                <a:gd name="T31" fmla="*/ 467 h 467"/>
                <a:gd name="T32" fmla="*/ 466 w 560"/>
                <a:gd name="T33" fmla="*/ 446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0" h="467">
                  <a:moveTo>
                    <a:pt x="466" y="446"/>
                  </a:moveTo>
                  <a:cubicBezTo>
                    <a:pt x="495" y="391"/>
                    <a:pt x="495" y="391"/>
                    <a:pt x="495" y="391"/>
                  </a:cubicBezTo>
                  <a:cubicBezTo>
                    <a:pt x="497" y="386"/>
                    <a:pt x="494" y="382"/>
                    <a:pt x="489" y="384"/>
                  </a:cubicBezTo>
                  <a:cubicBezTo>
                    <a:pt x="453" y="395"/>
                    <a:pt x="401" y="407"/>
                    <a:pt x="324" y="407"/>
                  </a:cubicBezTo>
                  <a:cubicBezTo>
                    <a:pt x="183" y="407"/>
                    <a:pt x="111" y="345"/>
                    <a:pt x="111" y="235"/>
                  </a:cubicBezTo>
                  <a:cubicBezTo>
                    <a:pt x="111" y="119"/>
                    <a:pt x="172" y="56"/>
                    <a:pt x="285" y="56"/>
                  </a:cubicBezTo>
                  <a:cubicBezTo>
                    <a:pt x="395" y="56"/>
                    <a:pt x="445" y="133"/>
                    <a:pt x="439" y="207"/>
                  </a:cubicBezTo>
                  <a:cubicBezTo>
                    <a:pt x="172" y="207"/>
                    <a:pt x="172" y="207"/>
                    <a:pt x="172" y="207"/>
                  </a:cubicBezTo>
                  <a:cubicBezTo>
                    <a:pt x="168" y="207"/>
                    <a:pt x="165" y="210"/>
                    <a:pt x="165" y="213"/>
                  </a:cubicBezTo>
                  <a:cubicBezTo>
                    <a:pt x="165" y="250"/>
                    <a:pt x="165" y="250"/>
                    <a:pt x="165" y="250"/>
                  </a:cubicBezTo>
                  <a:cubicBezTo>
                    <a:pt x="165" y="254"/>
                    <a:pt x="166" y="256"/>
                    <a:pt x="172" y="256"/>
                  </a:cubicBezTo>
                  <a:cubicBezTo>
                    <a:pt x="535" y="256"/>
                    <a:pt x="535" y="256"/>
                    <a:pt x="535" y="256"/>
                  </a:cubicBezTo>
                  <a:cubicBezTo>
                    <a:pt x="542" y="256"/>
                    <a:pt x="546" y="255"/>
                    <a:pt x="547" y="248"/>
                  </a:cubicBezTo>
                  <a:cubicBezTo>
                    <a:pt x="560" y="120"/>
                    <a:pt x="479" y="0"/>
                    <a:pt x="285" y="0"/>
                  </a:cubicBezTo>
                  <a:cubicBezTo>
                    <a:pt x="110" y="0"/>
                    <a:pt x="0" y="100"/>
                    <a:pt x="0" y="235"/>
                  </a:cubicBezTo>
                  <a:cubicBezTo>
                    <a:pt x="0" y="390"/>
                    <a:pt x="110" y="467"/>
                    <a:pt x="308" y="467"/>
                  </a:cubicBezTo>
                  <a:cubicBezTo>
                    <a:pt x="373" y="467"/>
                    <a:pt x="428" y="459"/>
                    <a:pt x="466" y="446"/>
                  </a:cubicBezTo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6" name="Freeform 30"/>
            <p:cNvSpPr>
              <a:spLocks/>
            </p:cNvSpPr>
            <p:nvPr userDrawn="1"/>
          </p:nvSpPr>
          <p:spPr bwMode="auto">
            <a:xfrm>
              <a:off x="-8151813" y="1504950"/>
              <a:ext cx="4367213" cy="3840163"/>
            </a:xfrm>
            <a:custGeom>
              <a:avLst/>
              <a:gdLst>
                <a:gd name="T0" fmla="*/ 289 w 530"/>
                <a:gd name="T1" fmla="*/ 0 h 465"/>
                <a:gd name="T2" fmla="*/ 0 w 530"/>
                <a:gd name="T3" fmla="*/ 232 h 465"/>
                <a:gd name="T4" fmla="*/ 278 w 530"/>
                <a:gd name="T5" fmla="*/ 465 h 465"/>
                <a:gd name="T6" fmla="*/ 355 w 530"/>
                <a:gd name="T7" fmla="*/ 458 h 465"/>
                <a:gd name="T8" fmla="*/ 383 w 530"/>
                <a:gd name="T9" fmla="*/ 402 h 465"/>
                <a:gd name="T10" fmla="*/ 376 w 530"/>
                <a:gd name="T11" fmla="*/ 391 h 465"/>
                <a:gd name="T12" fmla="*/ 276 w 530"/>
                <a:gd name="T13" fmla="*/ 406 h 465"/>
                <a:gd name="T14" fmla="*/ 110 w 530"/>
                <a:gd name="T15" fmla="*/ 232 h 465"/>
                <a:gd name="T16" fmla="*/ 288 w 530"/>
                <a:gd name="T17" fmla="*/ 58 h 465"/>
                <a:gd name="T18" fmla="*/ 466 w 530"/>
                <a:gd name="T19" fmla="*/ 174 h 465"/>
                <a:gd name="T20" fmla="*/ 479 w 530"/>
                <a:gd name="T21" fmla="*/ 174 h 465"/>
                <a:gd name="T22" fmla="*/ 530 w 530"/>
                <a:gd name="T23" fmla="*/ 75 h 465"/>
                <a:gd name="T24" fmla="*/ 289 w 530"/>
                <a:gd name="T25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0" h="465">
                  <a:moveTo>
                    <a:pt x="289" y="0"/>
                  </a:moveTo>
                  <a:cubicBezTo>
                    <a:pt x="96" y="0"/>
                    <a:pt x="0" y="99"/>
                    <a:pt x="0" y="232"/>
                  </a:cubicBezTo>
                  <a:cubicBezTo>
                    <a:pt x="0" y="358"/>
                    <a:pt x="86" y="465"/>
                    <a:pt x="278" y="465"/>
                  </a:cubicBezTo>
                  <a:cubicBezTo>
                    <a:pt x="306" y="465"/>
                    <a:pt x="332" y="462"/>
                    <a:pt x="355" y="458"/>
                  </a:cubicBezTo>
                  <a:cubicBezTo>
                    <a:pt x="383" y="402"/>
                    <a:pt x="383" y="402"/>
                    <a:pt x="383" y="402"/>
                  </a:cubicBezTo>
                  <a:cubicBezTo>
                    <a:pt x="387" y="393"/>
                    <a:pt x="380" y="391"/>
                    <a:pt x="376" y="391"/>
                  </a:cubicBezTo>
                  <a:cubicBezTo>
                    <a:pt x="348" y="399"/>
                    <a:pt x="323" y="406"/>
                    <a:pt x="276" y="406"/>
                  </a:cubicBezTo>
                  <a:cubicBezTo>
                    <a:pt x="182" y="406"/>
                    <a:pt x="110" y="349"/>
                    <a:pt x="110" y="232"/>
                  </a:cubicBezTo>
                  <a:cubicBezTo>
                    <a:pt x="110" y="123"/>
                    <a:pt x="179" y="58"/>
                    <a:pt x="288" y="58"/>
                  </a:cubicBezTo>
                  <a:cubicBezTo>
                    <a:pt x="385" y="58"/>
                    <a:pt x="443" y="109"/>
                    <a:pt x="466" y="174"/>
                  </a:cubicBezTo>
                  <a:cubicBezTo>
                    <a:pt x="467" y="180"/>
                    <a:pt x="476" y="179"/>
                    <a:pt x="479" y="174"/>
                  </a:cubicBezTo>
                  <a:cubicBezTo>
                    <a:pt x="530" y="75"/>
                    <a:pt x="530" y="75"/>
                    <a:pt x="530" y="75"/>
                  </a:cubicBezTo>
                  <a:cubicBezTo>
                    <a:pt x="480" y="36"/>
                    <a:pt x="397" y="0"/>
                    <a:pt x="289" y="0"/>
                  </a:cubicBezTo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7" name="Freeform 31"/>
            <p:cNvSpPr>
              <a:spLocks/>
            </p:cNvSpPr>
            <p:nvPr userDrawn="1"/>
          </p:nvSpPr>
          <p:spPr bwMode="auto">
            <a:xfrm>
              <a:off x="8593138" y="1512888"/>
              <a:ext cx="3856038" cy="3840163"/>
            </a:xfrm>
            <a:custGeom>
              <a:avLst/>
              <a:gdLst>
                <a:gd name="T0" fmla="*/ 109 w 468"/>
                <a:gd name="T1" fmla="*/ 232 h 465"/>
                <a:gd name="T2" fmla="*/ 287 w 468"/>
                <a:gd name="T3" fmla="*/ 405 h 465"/>
                <a:gd name="T4" fmla="*/ 406 w 468"/>
                <a:gd name="T5" fmla="*/ 386 h 465"/>
                <a:gd name="T6" fmla="*/ 413 w 468"/>
                <a:gd name="T7" fmla="*/ 392 h 465"/>
                <a:gd name="T8" fmla="*/ 382 w 468"/>
                <a:gd name="T9" fmla="*/ 450 h 465"/>
                <a:gd name="T10" fmla="*/ 278 w 468"/>
                <a:gd name="T11" fmla="*/ 465 h 465"/>
                <a:gd name="T12" fmla="*/ 0 w 468"/>
                <a:gd name="T13" fmla="*/ 232 h 465"/>
                <a:gd name="T14" fmla="*/ 278 w 468"/>
                <a:gd name="T15" fmla="*/ 0 h 465"/>
                <a:gd name="T16" fmla="*/ 468 w 468"/>
                <a:gd name="T17" fmla="*/ 45 h 465"/>
                <a:gd name="T18" fmla="*/ 435 w 468"/>
                <a:gd name="T19" fmla="*/ 107 h 465"/>
                <a:gd name="T20" fmla="*/ 425 w 468"/>
                <a:gd name="T21" fmla="*/ 107 h 465"/>
                <a:gd name="T22" fmla="*/ 287 w 468"/>
                <a:gd name="T23" fmla="*/ 60 h 465"/>
                <a:gd name="T24" fmla="*/ 109 w 468"/>
                <a:gd name="T25" fmla="*/ 232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8" h="465">
                  <a:moveTo>
                    <a:pt x="109" y="232"/>
                  </a:moveTo>
                  <a:cubicBezTo>
                    <a:pt x="109" y="343"/>
                    <a:pt x="186" y="405"/>
                    <a:pt x="287" y="405"/>
                  </a:cubicBezTo>
                  <a:cubicBezTo>
                    <a:pt x="330" y="405"/>
                    <a:pt x="363" y="402"/>
                    <a:pt x="406" y="386"/>
                  </a:cubicBezTo>
                  <a:cubicBezTo>
                    <a:pt x="411" y="384"/>
                    <a:pt x="416" y="386"/>
                    <a:pt x="413" y="392"/>
                  </a:cubicBezTo>
                  <a:cubicBezTo>
                    <a:pt x="382" y="450"/>
                    <a:pt x="382" y="450"/>
                    <a:pt x="382" y="450"/>
                  </a:cubicBezTo>
                  <a:cubicBezTo>
                    <a:pt x="346" y="462"/>
                    <a:pt x="319" y="465"/>
                    <a:pt x="278" y="465"/>
                  </a:cubicBezTo>
                  <a:cubicBezTo>
                    <a:pt x="101" y="465"/>
                    <a:pt x="0" y="365"/>
                    <a:pt x="0" y="232"/>
                  </a:cubicBezTo>
                  <a:cubicBezTo>
                    <a:pt x="0" y="100"/>
                    <a:pt x="101" y="0"/>
                    <a:pt x="278" y="0"/>
                  </a:cubicBezTo>
                  <a:cubicBezTo>
                    <a:pt x="364" y="0"/>
                    <a:pt x="433" y="23"/>
                    <a:pt x="468" y="45"/>
                  </a:cubicBezTo>
                  <a:cubicBezTo>
                    <a:pt x="435" y="107"/>
                    <a:pt x="435" y="107"/>
                    <a:pt x="435" y="107"/>
                  </a:cubicBezTo>
                  <a:cubicBezTo>
                    <a:pt x="433" y="111"/>
                    <a:pt x="429" y="111"/>
                    <a:pt x="425" y="107"/>
                  </a:cubicBezTo>
                  <a:cubicBezTo>
                    <a:pt x="396" y="78"/>
                    <a:pt x="344" y="60"/>
                    <a:pt x="287" y="60"/>
                  </a:cubicBezTo>
                  <a:cubicBezTo>
                    <a:pt x="186" y="60"/>
                    <a:pt x="109" y="122"/>
                    <a:pt x="109" y="232"/>
                  </a:cubicBezTo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8" name="Freeform 32"/>
            <p:cNvSpPr>
              <a:spLocks/>
            </p:cNvSpPr>
            <p:nvPr userDrawn="1"/>
          </p:nvSpPr>
          <p:spPr bwMode="auto">
            <a:xfrm>
              <a:off x="-4402138" y="1504950"/>
              <a:ext cx="4359275" cy="3840163"/>
            </a:xfrm>
            <a:custGeom>
              <a:avLst/>
              <a:gdLst>
                <a:gd name="T0" fmla="*/ 242 w 529"/>
                <a:gd name="T1" fmla="*/ 407 h 465"/>
                <a:gd name="T2" fmla="*/ 64 w 529"/>
                <a:gd name="T3" fmla="*/ 291 h 465"/>
                <a:gd name="T4" fmla="*/ 51 w 529"/>
                <a:gd name="T5" fmla="*/ 291 h 465"/>
                <a:gd name="T6" fmla="*/ 0 w 529"/>
                <a:gd name="T7" fmla="*/ 390 h 465"/>
                <a:gd name="T8" fmla="*/ 240 w 529"/>
                <a:gd name="T9" fmla="*/ 465 h 465"/>
                <a:gd name="T10" fmla="*/ 529 w 529"/>
                <a:gd name="T11" fmla="*/ 233 h 465"/>
                <a:gd name="T12" fmla="*/ 252 w 529"/>
                <a:gd name="T13" fmla="*/ 0 h 465"/>
                <a:gd name="T14" fmla="*/ 174 w 529"/>
                <a:gd name="T15" fmla="*/ 7 h 465"/>
                <a:gd name="T16" fmla="*/ 146 w 529"/>
                <a:gd name="T17" fmla="*/ 63 h 465"/>
                <a:gd name="T18" fmla="*/ 154 w 529"/>
                <a:gd name="T19" fmla="*/ 74 h 465"/>
                <a:gd name="T20" fmla="*/ 254 w 529"/>
                <a:gd name="T21" fmla="*/ 59 h 465"/>
                <a:gd name="T22" fmla="*/ 419 w 529"/>
                <a:gd name="T23" fmla="*/ 233 h 465"/>
                <a:gd name="T24" fmla="*/ 242 w 529"/>
                <a:gd name="T25" fmla="*/ 40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9" h="465">
                  <a:moveTo>
                    <a:pt x="242" y="407"/>
                  </a:moveTo>
                  <a:cubicBezTo>
                    <a:pt x="144" y="407"/>
                    <a:pt x="87" y="356"/>
                    <a:pt x="64" y="291"/>
                  </a:cubicBezTo>
                  <a:cubicBezTo>
                    <a:pt x="62" y="285"/>
                    <a:pt x="54" y="286"/>
                    <a:pt x="51" y="291"/>
                  </a:cubicBezTo>
                  <a:cubicBezTo>
                    <a:pt x="0" y="390"/>
                    <a:pt x="0" y="390"/>
                    <a:pt x="0" y="390"/>
                  </a:cubicBezTo>
                  <a:cubicBezTo>
                    <a:pt x="50" y="429"/>
                    <a:pt x="133" y="465"/>
                    <a:pt x="240" y="465"/>
                  </a:cubicBezTo>
                  <a:cubicBezTo>
                    <a:pt x="434" y="465"/>
                    <a:pt x="529" y="366"/>
                    <a:pt x="529" y="233"/>
                  </a:cubicBezTo>
                  <a:cubicBezTo>
                    <a:pt x="529" y="107"/>
                    <a:pt x="443" y="0"/>
                    <a:pt x="252" y="0"/>
                  </a:cubicBezTo>
                  <a:cubicBezTo>
                    <a:pt x="224" y="0"/>
                    <a:pt x="198" y="3"/>
                    <a:pt x="174" y="7"/>
                  </a:cubicBezTo>
                  <a:cubicBezTo>
                    <a:pt x="146" y="63"/>
                    <a:pt x="146" y="63"/>
                    <a:pt x="146" y="63"/>
                  </a:cubicBezTo>
                  <a:cubicBezTo>
                    <a:pt x="143" y="72"/>
                    <a:pt x="149" y="74"/>
                    <a:pt x="154" y="74"/>
                  </a:cubicBezTo>
                  <a:cubicBezTo>
                    <a:pt x="182" y="66"/>
                    <a:pt x="207" y="59"/>
                    <a:pt x="254" y="59"/>
                  </a:cubicBezTo>
                  <a:cubicBezTo>
                    <a:pt x="347" y="59"/>
                    <a:pt x="419" y="116"/>
                    <a:pt x="419" y="233"/>
                  </a:cubicBezTo>
                  <a:cubicBezTo>
                    <a:pt x="419" y="342"/>
                    <a:pt x="350" y="407"/>
                    <a:pt x="242" y="407"/>
                  </a:cubicBezTo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9" name="Freeform 33"/>
            <p:cNvSpPr>
              <a:spLocks/>
            </p:cNvSpPr>
            <p:nvPr userDrawn="1"/>
          </p:nvSpPr>
          <p:spPr bwMode="auto">
            <a:xfrm>
              <a:off x="971550" y="6427788"/>
              <a:ext cx="798513" cy="1023938"/>
            </a:xfrm>
            <a:custGeom>
              <a:avLst/>
              <a:gdLst>
                <a:gd name="T0" fmla="*/ 503 w 503"/>
                <a:gd name="T1" fmla="*/ 104 h 645"/>
                <a:gd name="T2" fmla="*/ 119 w 503"/>
                <a:gd name="T3" fmla="*/ 104 h 645"/>
                <a:gd name="T4" fmla="*/ 119 w 503"/>
                <a:gd name="T5" fmla="*/ 281 h 645"/>
                <a:gd name="T6" fmla="*/ 456 w 503"/>
                <a:gd name="T7" fmla="*/ 281 h 645"/>
                <a:gd name="T8" fmla="*/ 456 w 503"/>
                <a:gd name="T9" fmla="*/ 379 h 645"/>
                <a:gd name="T10" fmla="*/ 119 w 503"/>
                <a:gd name="T11" fmla="*/ 379 h 645"/>
                <a:gd name="T12" fmla="*/ 119 w 503"/>
                <a:gd name="T13" fmla="*/ 645 h 645"/>
                <a:gd name="T14" fmla="*/ 0 w 503"/>
                <a:gd name="T15" fmla="*/ 645 h 645"/>
                <a:gd name="T16" fmla="*/ 0 w 503"/>
                <a:gd name="T17" fmla="*/ 0 h 645"/>
                <a:gd name="T18" fmla="*/ 503 w 503"/>
                <a:gd name="T19" fmla="*/ 0 h 645"/>
                <a:gd name="T20" fmla="*/ 503 w 503"/>
                <a:gd name="T21" fmla="*/ 104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3" h="645">
                  <a:moveTo>
                    <a:pt x="503" y="104"/>
                  </a:moveTo>
                  <a:lnTo>
                    <a:pt x="119" y="104"/>
                  </a:lnTo>
                  <a:lnTo>
                    <a:pt x="119" y="281"/>
                  </a:lnTo>
                  <a:lnTo>
                    <a:pt x="456" y="281"/>
                  </a:lnTo>
                  <a:lnTo>
                    <a:pt x="456" y="379"/>
                  </a:lnTo>
                  <a:lnTo>
                    <a:pt x="119" y="379"/>
                  </a:lnTo>
                  <a:lnTo>
                    <a:pt x="119" y="645"/>
                  </a:lnTo>
                  <a:lnTo>
                    <a:pt x="0" y="645"/>
                  </a:lnTo>
                  <a:lnTo>
                    <a:pt x="0" y="0"/>
                  </a:lnTo>
                  <a:lnTo>
                    <a:pt x="503" y="0"/>
                  </a:lnTo>
                  <a:lnTo>
                    <a:pt x="503" y="104"/>
                  </a:lnTo>
                  <a:close/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0" name="Freeform 34"/>
            <p:cNvSpPr>
              <a:spLocks noEditPoints="1"/>
            </p:cNvSpPr>
            <p:nvPr userDrawn="1"/>
          </p:nvSpPr>
          <p:spPr bwMode="auto">
            <a:xfrm>
              <a:off x="2017713" y="6410325"/>
              <a:ext cx="1112838" cy="1057275"/>
            </a:xfrm>
            <a:custGeom>
              <a:avLst/>
              <a:gdLst>
                <a:gd name="T0" fmla="*/ 68 w 135"/>
                <a:gd name="T1" fmla="*/ 128 h 128"/>
                <a:gd name="T2" fmla="*/ 0 w 135"/>
                <a:gd name="T3" fmla="*/ 64 h 128"/>
                <a:gd name="T4" fmla="*/ 68 w 135"/>
                <a:gd name="T5" fmla="*/ 0 h 128"/>
                <a:gd name="T6" fmla="*/ 135 w 135"/>
                <a:gd name="T7" fmla="*/ 64 h 128"/>
                <a:gd name="T8" fmla="*/ 68 w 135"/>
                <a:gd name="T9" fmla="*/ 128 h 128"/>
                <a:gd name="T10" fmla="*/ 68 w 135"/>
                <a:gd name="T11" fmla="*/ 20 h 128"/>
                <a:gd name="T12" fmla="*/ 24 w 135"/>
                <a:gd name="T13" fmla="*/ 64 h 128"/>
                <a:gd name="T14" fmla="*/ 68 w 135"/>
                <a:gd name="T15" fmla="*/ 108 h 128"/>
                <a:gd name="T16" fmla="*/ 112 w 135"/>
                <a:gd name="T17" fmla="*/ 64 h 128"/>
                <a:gd name="T18" fmla="*/ 68 w 135"/>
                <a:gd name="T19" fmla="*/ 2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" h="128">
                  <a:moveTo>
                    <a:pt x="68" y="128"/>
                  </a:moveTo>
                  <a:cubicBezTo>
                    <a:pt x="28" y="128"/>
                    <a:pt x="0" y="99"/>
                    <a:pt x="0" y="64"/>
                  </a:cubicBezTo>
                  <a:cubicBezTo>
                    <a:pt x="0" y="29"/>
                    <a:pt x="28" y="0"/>
                    <a:pt x="68" y="0"/>
                  </a:cubicBezTo>
                  <a:cubicBezTo>
                    <a:pt x="108" y="0"/>
                    <a:pt x="135" y="29"/>
                    <a:pt x="135" y="64"/>
                  </a:cubicBezTo>
                  <a:cubicBezTo>
                    <a:pt x="135" y="99"/>
                    <a:pt x="107" y="128"/>
                    <a:pt x="68" y="128"/>
                  </a:cubicBezTo>
                  <a:moveTo>
                    <a:pt x="68" y="20"/>
                  </a:moveTo>
                  <a:cubicBezTo>
                    <a:pt x="42" y="20"/>
                    <a:pt x="24" y="39"/>
                    <a:pt x="24" y="64"/>
                  </a:cubicBezTo>
                  <a:cubicBezTo>
                    <a:pt x="24" y="88"/>
                    <a:pt x="42" y="108"/>
                    <a:pt x="68" y="108"/>
                  </a:cubicBezTo>
                  <a:cubicBezTo>
                    <a:pt x="94" y="108"/>
                    <a:pt x="112" y="88"/>
                    <a:pt x="112" y="64"/>
                  </a:cubicBezTo>
                  <a:cubicBezTo>
                    <a:pt x="112" y="40"/>
                    <a:pt x="93" y="20"/>
                    <a:pt x="68" y="20"/>
                  </a:cubicBezTo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2" name="Freeform 35"/>
            <p:cNvSpPr>
              <a:spLocks noEditPoints="1"/>
            </p:cNvSpPr>
            <p:nvPr userDrawn="1"/>
          </p:nvSpPr>
          <p:spPr bwMode="auto">
            <a:xfrm>
              <a:off x="3459163" y="6427788"/>
              <a:ext cx="906463" cy="1023938"/>
            </a:xfrm>
            <a:custGeom>
              <a:avLst/>
              <a:gdLst>
                <a:gd name="T0" fmla="*/ 83 w 110"/>
                <a:gd name="T1" fmla="*/ 124 h 124"/>
                <a:gd name="T2" fmla="*/ 52 w 110"/>
                <a:gd name="T3" fmla="*/ 81 h 124"/>
                <a:gd name="T4" fmla="*/ 23 w 110"/>
                <a:gd name="T5" fmla="*/ 81 h 124"/>
                <a:gd name="T6" fmla="*/ 23 w 110"/>
                <a:gd name="T7" fmla="*/ 124 h 124"/>
                <a:gd name="T8" fmla="*/ 0 w 110"/>
                <a:gd name="T9" fmla="*/ 124 h 124"/>
                <a:gd name="T10" fmla="*/ 0 w 110"/>
                <a:gd name="T11" fmla="*/ 0 h 124"/>
                <a:gd name="T12" fmla="*/ 58 w 110"/>
                <a:gd name="T13" fmla="*/ 0 h 124"/>
                <a:gd name="T14" fmla="*/ 106 w 110"/>
                <a:gd name="T15" fmla="*/ 39 h 124"/>
                <a:gd name="T16" fmla="*/ 75 w 110"/>
                <a:gd name="T17" fmla="*/ 77 h 124"/>
                <a:gd name="T18" fmla="*/ 110 w 110"/>
                <a:gd name="T19" fmla="*/ 124 h 124"/>
                <a:gd name="T20" fmla="*/ 83 w 110"/>
                <a:gd name="T21" fmla="*/ 124 h 124"/>
                <a:gd name="T22" fmla="*/ 56 w 110"/>
                <a:gd name="T23" fmla="*/ 20 h 124"/>
                <a:gd name="T24" fmla="*/ 23 w 110"/>
                <a:gd name="T25" fmla="*/ 20 h 124"/>
                <a:gd name="T26" fmla="*/ 23 w 110"/>
                <a:gd name="T27" fmla="*/ 61 h 124"/>
                <a:gd name="T28" fmla="*/ 56 w 110"/>
                <a:gd name="T29" fmla="*/ 61 h 124"/>
                <a:gd name="T30" fmla="*/ 83 w 110"/>
                <a:gd name="T31" fmla="*/ 40 h 124"/>
                <a:gd name="T32" fmla="*/ 56 w 110"/>
                <a:gd name="T33" fmla="*/ 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124">
                  <a:moveTo>
                    <a:pt x="83" y="124"/>
                  </a:moveTo>
                  <a:cubicBezTo>
                    <a:pt x="52" y="81"/>
                    <a:pt x="52" y="81"/>
                    <a:pt x="52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8" y="0"/>
                    <a:pt x="106" y="15"/>
                    <a:pt x="106" y="39"/>
                  </a:cubicBezTo>
                  <a:cubicBezTo>
                    <a:pt x="106" y="60"/>
                    <a:pt x="93" y="72"/>
                    <a:pt x="75" y="77"/>
                  </a:cubicBezTo>
                  <a:cubicBezTo>
                    <a:pt x="110" y="124"/>
                    <a:pt x="110" y="124"/>
                    <a:pt x="110" y="124"/>
                  </a:cubicBezTo>
                  <a:lnTo>
                    <a:pt x="83" y="124"/>
                  </a:lnTo>
                  <a:close/>
                  <a:moveTo>
                    <a:pt x="56" y="20"/>
                  </a:moveTo>
                  <a:cubicBezTo>
                    <a:pt x="23" y="20"/>
                    <a:pt x="23" y="20"/>
                    <a:pt x="23" y="20"/>
                  </a:cubicBezTo>
                  <a:cubicBezTo>
                    <a:pt x="23" y="61"/>
                    <a:pt x="23" y="61"/>
                    <a:pt x="23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73" y="61"/>
                    <a:pt x="83" y="53"/>
                    <a:pt x="83" y="40"/>
                  </a:cubicBezTo>
                  <a:cubicBezTo>
                    <a:pt x="83" y="27"/>
                    <a:pt x="73" y="20"/>
                    <a:pt x="56" y="20"/>
                  </a:cubicBezTo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4" name="Freeform 36"/>
            <p:cNvSpPr>
              <a:spLocks/>
            </p:cNvSpPr>
            <p:nvPr userDrawn="1"/>
          </p:nvSpPr>
          <p:spPr bwMode="auto">
            <a:xfrm>
              <a:off x="5148263" y="6410325"/>
              <a:ext cx="833438" cy="1057275"/>
            </a:xfrm>
            <a:custGeom>
              <a:avLst/>
              <a:gdLst>
                <a:gd name="T0" fmla="*/ 59 w 101"/>
                <a:gd name="T1" fmla="*/ 54 h 128"/>
                <a:gd name="T2" fmla="*/ 101 w 101"/>
                <a:gd name="T3" fmla="*/ 91 h 128"/>
                <a:gd name="T4" fmla="*/ 54 w 101"/>
                <a:gd name="T5" fmla="*/ 128 h 128"/>
                <a:gd name="T6" fmla="*/ 0 w 101"/>
                <a:gd name="T7" fmla="*/ 108 h 128"/>
                <a:gd name="T8" fmla="*/ 14 w 101"/>
                <a:gd name="T9" fmla="*/ 92 h 128"/>
                <a:gd name="T10" fmla="*/ 55 w 101"/>
                <a:gd name="T11" fmla="*/ 108 h 128"/>
                <a:gd name="T12" fmla="*/ 78 w 101"/>
                <a:gd name="T13" fmla="*/ 93 h 128"/>
                <a:gd name="T14" fmla="*/ 49 w 101"/>
                <a:gd name="T15" fmla="*/ 73 h 128"/>
                <a:gd name="T16" fmla="*/ 6 w 101"/>
                <a:gd name="T17" fmla="*/ 36 h 128"/>
                <a:gd name="T18" fmla="*/ 50 w 101"/>
                <a:gd name="T19" fmla="*/ 0 h 128"/>
                <a:gd name="T20" fmla="*/ 97 w 101"/>
                <a:gd name="T21" fmla="*/ 16 h 128"/>
                <a:gd name="T22" fmla="*/ 84 w 101"/>
                <a:gd name="T23" fmla="*/ 32 h 128"/>
                <a:gd name="T24" fmla="*/ 49 w 101"/>
                <a:gd name="T25" fmla="*/ 19 h 128"/>
                <a:gd name="T26" fmla="*/ 28 w 101"/>
                <a:gd name="T27" fmla="*/ 34 h 128"/>
                <a:gd name="T28" fmla="*/ 59 w 101"/>
                <a:gd name="T29" fmla="*/ 5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28">
                  <a:moveTo>
                    <a:pt x="59" y="54"/>
                  </a:moveTo>
                  <a:cubicBezTo>
                    <a:pt x="86" y="60"/>
                    <a:pt x="101" y="70"/>
                    <a:pt x="101" y="91"/>
                  </a:cubicBezTo>
                  <a:cubicBezTo>
                    <a:pt x="101" y="114"/>
                    <a:pt x="82" y="128"/>
                    <a:pt x="54" y="128"/>
                  </a:cubicBezTo>
                  <a:cubicBezTo>
                    <a:pt x="35" y="128"/>
                    <a:pt x="16" y="121"/>
                    <a:pt x="0" y="108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26" y="103"/>
                    <a:pt x="39" y="108"/>
                    <a:pt x="55" y="108"/>
                  </a:cubicBezTo>
                  <a:cubicBezTo>
                    <a:pt x="69" y="108"/>
                    <a:pt x="78" y="102"/>
                    <a:pt x="78" y="93"/>
                  </a:cubicBezTo>
                  <a:cubicBezTo>
                    <a:pt x="78" y="84"/>
                    <a:pt x="73" y="79"/>
                    <a:pt x="49" y="73"/>
                  </a:cubicBezTo>
                  <a:cubicBezTo>
                    <a:pt x="21" y="67"/>
                    <a:pt x="6" y="59"/>
                    <a:pt x="6" y="36"/>
                  </a:cubicBezTo>
                  <a:cubicBezTo>
                    <a:pt x="6" y="15"/>
                    <a:pt x="24" y="0"/>
                    <a:pt x="50" y="0"/>
                  </a:cubicBezTo>
                  <a:cubicBezTo>
                    <a:pt x="69" y="0"/>
                    <a:pt x="84" y="6"/>
                    <a:pt x="97" y="16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73" y="24"/>
                    <a:pt x="61" y="19"/>
                    <a:pt x="49" y="19"/>
                  </a:cubicBezTo>
                  <a:cubicBezTo>
                    <a:pt x="36" y="19"/>
                    <a:pt x="28" y="26"/>
                    <a:pt x="28" y="34"/>
                  </a:cubicBezTo>
                  <a:cubicBezTo>
                    <a:pt x="28" y="44"/>
                    <a:pt x="34" y="48"/>
                    <a:pt x="59" y="54"/>
                  </a:cubicBezTo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5" name="Freeform 37"/>
            <p:cNvSpPr>
              <a:spLocks noEditPoints="1"/>
            </p:cNvSpPr>
            <p:nvPr userDrawn="1"/>
          </p:nvSpPr>
          <p:spPr bwMode="auto">
            <a:xfrm>
              <a:off x="6186488" y="6418263"/>
              <a:ext cx="1112838" cy="1033463"/>
            </a:xfrm>
            <a:custGeom>
              <a:avLst/>
              <a:gdLst>
                <a:gd name="T0" fmla="*/ 701 w 701"/>
                <a:gd name="T1" fmla="*/ 651 h 651"/>
                <a:gd name="T2" fmla="*/ 577 w 701"/>
                <a:gd name="T3" fmla="*/ 651 h 651"/>
                <a:gd name="T4" fmla="*/ 509 w 701"/>
                <a:gd name="T5" fmla="*/ 495 h 651"/>
                <a:gd name="T6" fmla="*/ 187 w 701"/>
                <a:gd name="T7" fmla="*/ 495 h 651"/>
                <a:gd name="T8" fmla="*/ 120 w 701"/>
                <a:gd name="T9" fmla="*/ 651 h 651"/>
                <a:gd name="T10" fmla="*/ 0 w 701"/>
                <a:gd name="T11" fmla="*/ 651 h 651"/>
                <a:gd name="T12" fmla="*/ 296 w 701"/>
                <a:gd name="T13" fmla="*/ 0 h 651"/>
                <a:gd name="T14" fmla="*/ 405 w 701"/>
                <a:gd name="T15" fmla="*/ 0 h 651"/>
                <a:gd name="T16" fmla="*/ 701 w 701"/>
                <a:gd name="T17" fmla="*/ 651 h 651"/>
                <a:gd name="T18" fmla="*/ 348 w 701"/>
                <a:gd name="T19" fmla="*/ 136 h 651"/>
                <a:gd name="T20" fmla="*/ 234 w 701"/>
                <a:gd name="T21" fmla="*/ 396 h 651"/>
                <a:gd name="T22" fmla="*/ 462 w 701"/>
                <a:gd name="T23" fmla="*/ 396 h 651"/>
                <a:gd name="T24" fmla="*/ 348 w 701"/>
                <a:gd name="T25" fmla="*/ 13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1" h="651">
                  <a:moveTo>
                    <a:pt x="701" y="651"/>
                  </a:moveTo>
                  <a:lnTo>
                    <a:pt x="577" y="651"/>
                  </a:lnTo>
                  <a:lnTo>
                    <a:pt x="509" y="495"/>
                  </a:lnTo>
                  <a:lnTo>
                    <a:pt x="187" y="495"/>
                  </a:lnTo>
                  <a:lnTo>
                    <a:pt x="120" y="651"/>
                  </a:lnTo>
                  <a:lnTo>
                    <a:pt x="0" y="651"/>
                  </a:lnTo>
                  <a:lnTo>
                    <a:pt x="296" y="0"/>
                  </a:lnTo>
                  <a:lnTo>
                    <a:pt x="405" y="0"/>
                  </a:lnTo>
                  <a:lnTo>
                    <a:pt x="701" y="651"/>
                  </a:lnTo>
                  <a:close/>
                  <a:moveTo>
                    <a:pt x="348" y="136"/>
                  </a:moveTo>
                  <a:lnTo>
                    <a:pt x="234" y="396"/>
                  </a:lnTo>
                  <a:lnTo>
                    <a:pt x="462" y="396"/>
                  </a:lnTo>
                  <a:lnTo>
                    <a:pt x="348" y="136"/>
                  </a:lnTo>
                  <a:close/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6" name="Freeform 38"/>
            <p:cNvSpPr>
              <a:spLocks/>
            </p:cNvSpPr>
            <p:nvPr userDrawn="1"/>
          </p:nvSpPr>
          <p:spPr bwMode="auto">
            <a:xfrm>
              <a:off x="7580313" y="6427788"/>
              <a:ext cx="798513" cy="1023938"/>
            </a:xfrm>
            <a:custGeom>
              <a:avLst/>
              <a:gdLst>
                <a:gd name="T0" fmla="*/ 503 w 503"/>
                <a:gd name="T1" fmla="*/ 104 h 645"/>
                <a:gd name="T2" fmla="*/ 119 w 503"/>
                <a:gd name="T3" fmla="*/ 104 h 645"/>
                <a:gd name="T4" fmla="*/ 119 w 503"/>
                <a:gd name="T5" fmla="*/ 281 h 645"/>
                <a:gd name="T6" fmla="*/ 456 w 503"/>
                <a:gd name="T7" fmla="*/ 281 h 645"/>
                <a:gd name="T8" fmla="*/ 456 w 503"/>
                <a:gd name="T9" fmla="*/ 379 h 645"/>
                <a:gd name="T10" fmla="*/ 119 w 503"/>
                <a:gd name="T11" fmla="*/ 379 h 645"/>
                <a:gd name="T12" fmla="*/ 119 w 503"/>
                <a:gd name="T13" fmla="*/ 645 h 645"/>
                <a:gd name="T14" fmla="*/ 0 w 503"/>
                <a:gd name="T15" fmla="*/ 645 h 645"/>
                <a:gd name="T16" fmla="*/ 0 w 503"/>
                <a:gd name="T17" fmla="*/ 0 h 645"/>
                <a:gd name="T18" fmla="*/ 503 w 503"/>
                <a:gd name="T19" fmla="*/ 0 h 645"/>
                <a:gd name="T20" fmla="*/ 503 w 503"/>
                <a:gd name="T21" fmla="*/ 104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3" h="645">
                  <a:moveTo>
                    <a:pt x="503" y="104"/>
                  </a:moveTo>
                  <a:lnTo>
                    <a:pt x="119" y="104"/>
                  </a:lnTo>
                  <a:lnTo>
                    <a:pt x="119" y="281"/>
                  </a:lnTo>
                  <a:lnTo>
                    <a:pt x="456" y="281"/>
                  </a:lnTo>
                  <a:lnTo>
                    <a:pt x="456" y="379"/>
                  </a:lnTo>
                  <a:lnTo>
                    <a:pt x="119" y="379"/>
                  </a:lnTo>
                  <a:lnTo>
                    <a:pt x="119" y="645"/>
                  </a:lnTo>
                  <a:lnTo>
                    <a:pt x="0" y="645"/>
                  </a:lnTo>
                  <a:lnTo>
                    <a:pt x="0" y="0"/>
                  </a:lnTo>
                  <a:lnTo>
                    <a:pt x="503" y="0"/>
                  </a:lnTo>
                  <a:lnTo>
                    <a:pt x="503" y="104"/>
                  </a:lnTo>
                  <a:close/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 userDrawn="1"/>
          </p:nvSpPr>
          <p:spPr bwMode="auto">
            <a:xfrm>
              <a:off x="8683625" y="6427788"/>
              <a:ext cx="800100" cy="1023938"/>
            </a:xfrm>
            <a:custGeom>
              <a:avLst/>
              <a:gdLst>
                <a:gd name="T0" fmla="*/ 498 w 504"/>
                <a:gd name="T1" fmla="*/ 99 h 645"/>
                <a:gd name="T2" fmla="*/ 120 w 504"/>
                <a:gd name="T3" fmla="*/ 99 h 645"/>
                <a:gd name="T4" fmla="*/ 120 w 504"/>
                <a:gd name="T5" fmla="*/ 270 h 645"/>
                <a:gd name="T6" fmla="*/ 452 w 504"/>
                <a:gd name="T7" fmla="*/ 270 h 645"/>
                <a:gd name="T8" fmla="*/ 452 w 504"/>
                <a:gd name="T9" fmla="*/ 369 h 645"/>
                <a:gd name="T10" fmla="*/ 120 w 504"/>
                <a:gd name="T11" fmla="*/ 369 h 645"/>
                <a:gd name="T12" fmla="*/ 120 w 504"/>
                <a:gd name="T13" fmla="*/ 541 h 645"/>
                <a:gd name="T14" fmla="*/ 504 w 504"/>
                <a:gd name="T15" fmla="*/ 541 h 645"/>
                <a:gd name="T16" fmla="*/ 504 w 504"/>
                <a:gd name="T17" fmla="*/ 645 h 645"/>
                <a:gd name="T18" fmla="*/ 0 w 504"/>
                <a:gd name="T19" fmla="*/ 645 h 645"/>
                <a:gd name="T20" fmla="*/ 0 w 504"/>
                <a:gd name="T21" fmla="*/ 0 h 645"/>
                <a:gd name="T22" fmla="*/ 498 w 504"/>
                <a:gd name="T23" fmla="*/ 0 h 645"/>
                <a:gd name="T24" fmla="*/ 498 w 504"/>
                <a:gd name="T25" fmla="*/ 9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4" h="645">
                  <a:moveTo>
                    <a:pt x="498" y="99"/>
                  </a:moveTo>
                  <a:lnTo>
                    <a:pt x="120" y="99"/>
                  </a:lnTo>
                  <a:lnTo>
                    <a:pt x="120" y="270"/>
                  </a:lnTo>
                  <a:lnTo>
                    <a:pt x="452" y="270"/>
                  </a:lnTo>
                  <a:lnTo>
                    <a:pt x="452" y="369"/>
                  </a:lnTo>
                  <a:lnTo>
                    <a:pt x="120" y="369"/>
                  </a:lnTo>
                  <a:lnTo>
                    <a:pt x="120" y="541"/>
                  </a:lnTo>
                  <a:lnTo>
                    <a:pt x="504" y="541"/>
                  </a:lnTo>
                  <a:lnTo>
                    <a:pt x="504" y="645"/>
                  </a:lnTo>
                  <a:lnTo>
                    <a:pt x="0" y="645"/>
                  </a:lnTo>
                  <a:lnTo>
                    <a:pt x="0" y="0"/>
                  </a:lnTo>
                  <a:lnTo>
                    <a:pt x="498" y="0"/>
                  </a:lnTo>
                  <a:lnTo>
                    <a:pt x="498" y="99"/>
                  </a:lnTo>
                  <a:close/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 noEditPoints="1"/>
            </p:cNvSpPr>
            <p:nvPr userDrawn="1"/>
          </p:nvSpPr>
          <p:spPr bwMode="auto">
            <a:xfrm>
              <a:off x="9804400" y="6427788"/>
              <a:ext cx="906463" cy="1023938"/>
            </a:xfrm>
            <a:custGeom>
              <a:avLst/>
              <a:gdLst>
                <a:gd name="T0" fmla="*/ 83 w 110"/>
                <a:gd name="T1" fmla="*/ 124 h 124"/>
                <a:gd name="T2" fmla="*/ 51 w 110"/>
                <a:gd name="T3" fmla="*/ 81 h 124"/>
                <a:gd name="T4" fmla="*/ 23 w 110"/>
                <a:gd name="T5" fmla="*/ 81 h 124"/>
                <a:gd name="T6" fmla="*/ 23 w 110"/>
                <a:gd name="T7" fmla="*/ 124 h 124"/>
                <a:gd name="T8" fmla="*/ 0 w 110"/>
                <a:gd name="T9" fmla="*/ 124 h 124"/>
                <a:gd name="T10" fmla="*/ 0 w 110"/>
                <a:gd name="T11" fmla="*/ 0 h 124"/>
                <a:gd name="T12" fmla="*/ 58 w 110"/>
                <a:gd name="T13" fmla="*/ 0 h 124"/>
                <a:gd name="T14" fmla="*/ 106 w 110"/>
                <a:gd name="T15" fmla="*/ 39 h 124"/>
                <a:gd name="T16" fmla="*/ 75 w 110"/>
                <a:gd name="T17" fmla="*/ 77 h 124"/>
                <a:gd name="T18" fmla="*/ 110 w 110"/>
                <a:gd name="T19" fmla="*/ 124 h 124"/>
                <a:gd name="T20" fmla="*/ 83 w 110"/>
                <a:gd name="T21" fmla="*/ 124 h 124"/>
                <a:gd name="T22" fmla="*/ 56 w 110"/>
                <a:gd name="T23" fmla="*/ 20 h 124"/>
                <a:gd name="T24" fmla="*/ 23 w 110"/>
                <a:gd name="T25" fmla="*/ 20 h 124"/>
                <a:gd name="T26" fmla="*/ 23 w 110"/>
                <a:gd name="T27" fmla="*/ 61 h 124"/>
                <a:gd name="T28" fmla="*/ 56 w 110"/>
                <a:gd name="T29" fmla="*/ 61 h 124"/>
                <a:gd name="T30" fmla="*/ 83 w 110"/>
                <a:gd name="T31" fmla="*/ 40 h 124"/>
                <a:gd name="T32" fmla="*/ 56 w 110"/>
                <a:gd name="T33" fmla="*/ 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124">
                  <a:moveTo>
                    <a:pt x="83" y="124"/>
                  </a:moveTo>
                  <a:cubicBezTo>
                    <a:pt x="51" y="81"/>
                    <a:pt x="51" y="81"/>
                    <a:pt x="51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7" y="0"/>
                    <a:pt x="106" y="15"/>
                    <a:pt x="106" y="39"/>
                  </a:cubicBezTo>
                  <a:cubicBezTo>
                    <a:pt x="106" y="60"/>
                    <a:pt x="93" y="72"/>
                    <a:pt x="75" y="77"/>
                  </a:cubicBezTo>
                  <a:cubicBezTo>
                    <a:pt x="110" y="124"/>
                    <a:pt x="110" y="124"/>
                    <a:pt x="110" y="124"/>
                  </a:cubicBezTo>
                  <a:lnTo>
                    <a:pt x="83" y="124"/>
                  </a:lnTo>
                  <a:close/>
                  <a:moveTo>
                    <a:pt x="56" y="20"/>
                  </a:moveTo>
                  <a:cubicBezTo>
                    <a:pt x="23" y="20"/>
                    <a:pt x="23" y="20"/>
                    <a:pt x="23" y="20"/>
                  </a:cubicBezTo>
                  <a:cubicBezTo>
                    <a:pt x="23" y="61"/>
                    <a:pt x="23" y="61"/>
                    <a:pt x="23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72" y="61"/>
                    <a:pt x="83" y="53"/>
                    <a:pt x="83" y="40"/>
                  </a:cubicBezTo>
                  <a:cubicBezTo>
                    <a:pt x="83" y="27"/>
                    <a:pt x="73" y="20"/>
                    <a:pt x="56" y="20"/>
                  </a:cubicBezTo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9" name="Freeform 41"/>
            <p:cNvSpPr>
              <a:spLocks/>
            </p:cNvSpPr>
            <p:nvPr userDrawn="1"/>
          </p:nvSpPr>
          <p:spPr bwMode="auto">
            <a:xfrm>
              <a:off x="11485563" y="6427788"/>
              <a:ext cx="865188" cy="1023938"/>
            </a:xfrm>
            <a:custGeom>
              <a:avLst/>
              <a:gdLst>
                <a:gd name="T0" fmla="*/ 332 w 545"/>
                <a:gd name="T1" fmla="*/ 645 h 645"/>
                <a:gd name="T2" fmla="*/ 213 w 545"/>
                <a:gd name="T3" fmla="*/ 645 h 645"/>
                <a:gd name="T4" fmla="*/ 213 w 545"/>
                <a:gd name="T5" fmla="*/ 104 h 645"/>
                <a:gd name="T6" fmla="*/ 0 w 545"/>
                <a:gd name="T7" fmla="*/ 104 h 645"/>
                <a:gd name="T8" fmla="*/ 0 w 545"/>
                <a:gd name="T9" fmla="*/ 0 h 645"/>
                <a:gd name="T10" fmla="*/ 545 w 545"/>
                <a:gd name="T11" fmla="*/ 0 h 645"/>
                <a:gd name="T12" fmla="*/ 545 w 545"/>
                <a:gd name="T13" fmla="*/ 104 h 645"/>
                <a:gd name="T14" fmla="*/ 332 w 545"/>
                <a:gd name="T15" fmla="*/ 104 h 645"/>
                <a:gd name="T16" fmla="*/ 332 w 545"/>
                <a:gd name="T17" fmla="*/ 645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5" h="645">
                  <a:moveTo>
                    <a:pt x="332" y="645"/>
                  </a:moveTo>
                  <a:lnTo>
                    <a:pt x="213" y="645"/>
                  </a:lnTo>
                  <a:lnTo>
                    <a:pt x="213" y="104"/>
                  </a:lnTo>
                  <a:lnTo>
                    <a:pt x="0" y="104"/>
                  </a:lnTo>
                  <a:lnTo>
                    <a:pt x="0" y="0"/>
                  </a:lnTo>
                  <a:lnTo>
                    <a:pt x="545" y="0"/>
                  </a:lnTo>
                  <a:lnTo>
                    <a:pt x="545" y="104"/>
                  </a:lnTo>
                  <a:lnTo>
                    <a:pt x="332" y="104"/>
                  </a:lnTo>
                  <a:lnTo>
                    <a:pt x="332" y="645"/>
                  </a:lnTo>
                  <a:close/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30" name="Freeform 42"/>
            <p:cNvSpPr>
              <a:spLocks noEditPoints="1"/>
            </p:cNvSpPr>
            <p:nvPr userDrawn="1"/>
          </p:nvSpPr>
          <p:spPr bwMode="auto">
            <a:xfrm>
              <a:off x="12655550" y="6427788"/>
              <a:ext cx="906463" cy="1023938"/>
            </a:xfrm>
            <a:custGeom>
              <a:avLst/>
              <a:gdLst>
                <a:gd name="T0" fmla="*/ 83 w 110"/>
                <a:gd name="T1" fmla="*/ 124 h 124"/>
                <a:gd name="T2" fmla="*/ 51 w 110"/>
                <a:gd name="T3" fmla="*/ 81 h 124"/>
                <a:gd name="T4" fmla="*/ 23 w 110"/>
                <a:gd name="T5" fmla="*/ 81 h 124"/>
                <a:gd name="T6" fmla="*/ 23 w 110"/>
                <a:gd name="T7" fmla="*/ 124 h 124"/>
                <a:gd name="T8" fmla="*/ 0 w 110"/>
                <a:gd name="T9" fmla="*/ 124 h 124"/>
                <a:gd name="T10" fmla="*/ 0 w 110"/>
                <a:gd name="T11" fmla="*/ 0 h 124"/>
                <a:gd name="T12" fmla="*/ 57 w 110"/>
                <a:gd name="T13" fmla="*/ 0 h 124"/>
                <a:gd name="T14" fmla="*/ 105 w 110"/>
                <a:gd name="T15" fmla="*/ 39 h 124"/>
                <a:gd name="T16" fmla="*/ 75 w 110"/>
                <a:gd name="T17" fmla="*/ 77 h 124"/>
                <a:gd name="T18" fmla="*/ 110 w 110"/>
                <a:gd name="T19" fmla="*/ 124 h 124"/>
                <a:gd name="T20" fmla="*/ 83 w 110"/>
                <a:gd name="T21" fmla="*/ 124 h 124"/>
                <a:gd name="T22" fmla="*/ 56 w 110"/>
                <a:gd name="T23" fmla="*/ 20 h 124"/>
                <a:gd name="T24" fmla="*/ 23 w 110"/>
                <a:gd name="T25" fmla="*/ 20 h 124"/>
                <a:gd name="T26" fmla="*/ 23 w 110"/>
                <a:gd name="T27" fmla="*/ 61 h 124"/>
                <a:gd name="T28" fmla="*/ 56 w 110"/>
                <a:gd name="T29" fmla="*/ 61 h 124"/>
                <a:gd name="T30" fmla="*/ 82 w 110"/>
                <a:gd name="T31" fmla="*/ 40 h 124"/>
                <a:gd name="T32" fmla="*/ 56 w 110"/>
                <a:gd name="T33" fmla="*/ 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124">
                  <a:moveTo>
                    <a:pt x="83" y="124"/>
                  </a:moveTo>
                  <a:cubicBezTo>
                    <a:pt x="51" y="81"/>
                    <a:pt x="51" y="81"/>
                    <a:pt x="51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87" y="0"/>
                    <a:pt x="105" y="15"/>
                    <a:pt x="105" y="39"/>
                  </a:cubicBezTo>
                  <a:cubicBezTo>
                    <a:pt x="105" y="60"/>
                    <a:pt x="93" y="72"/>
                    <a:pt x="75" y="77"/>
                  </a:cubicBezTo>
                  <a:cubicBezTo>
                    <a:pt x="110" y="124"/>
                    <a:pt x="110" y="124"/>
                    <a:pt x="110" y="124"/>
                  </a:cubicBezTo>
                  <a:lnTo>
                    <a:pt x="83" y="124"/>
                  </a:lnTo>
                  <a:close/>
                  <a:moveTo>
                    <a:pt x="56" y="20"/>
                  </a:moveTo>
                  <a:cubicBezTo>
                    <a:pt x="23" y="20"/>
                    <a:pt x="23" y="20"/>
                    <a:pt x="23" y="20"/>
                  </a:cubicBezTo>
                  <a:cubicBezTo>
                    <a:pt x="23" y="61"/>
                    <a:pt x="23" y="61"/>
                    <a:pt x="23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72" y="61"/>
                    <a:pt x="82" y="53"/>
                    <a:pt x="82" y="40"/>
                  </a:cubicBezTo>
                  <a:cubicBezTo>
                    <a:pt x="82" y="27"/>
                    <a:pt x="72" y="20"/>
                    <a:pt x="56" y="20"/>
                  </a:cubicBezTo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31" name="Freeform 43"/>
            <p:cNvSpPr>
              <a:spLocks noEditPoints="1"/>
            </p:cNvSpPr>
            <p:nvPr userDrawn="1"/>
          </p:nvSpPr>
          <p:spPr bwMode="auto">
            <a:xfrm>
              <a:off x="13768388" y="6418263"/>
              <a:ext cx="1103313" cy="1033463"/>
            </a:xfrm>
            <a:custGeom>
              <a:avLst/>
              <a:gdLst>
                <a:gd name="T0" fmla="*/ 695 w 695"/>
                <a:gd name="T1" fmla="*/ 651 h 651"/>
                <a:gd name="T2" fmla="*/ 571 w 695"/>
                <a:gd name="T3" fmla="*/ 651 h 651"/>
                <a:gd name="T4" fmla="*/ 503 w 695"/>
                <a:gd name="T5" fmla="*/ 495 h 651"/>
                <a:gd name="T6" fmla="*/ 187 w 695"/>
                <a:gd name="T7" fmla="*/ 495 h 651"/>
                <a:gd name="T8" fmla="*/ 119 w 695"/>
                <a:gd name="T9" fmla="*/ 651 h 651"/>
                <a:gd name="T10" fmla="*/ 0 w 695"/>
                <a:gd name="T11" fmla="*/ 651 h 651"/>
                <a:gd name="T12" fmla="*/ 296 w 695"/>
                <a:gd name="T13" fmla="*/ 0 h 651"/>
                <a:gd name="T14" fmla="*/ 405 w 695"/>
                <a:gd name="T15" fmla="*/ 0 h 651"/>
                <a:gd name="T16" fmla="*/ 695 w 695"/>
                <a:gd name="T17" fmla="*/ 651 h 651"/>
                <a:gd name="T18" fmla="*/ 348 w 695"/>
                <a:gd name="T19" fmla="*/ 136 h 651"/>
                <a:gd name="T20" fmla="*/ 234 w 695"/>
                <a:gd name="T21" fmla="*/ 396 h 651"/>
                <a:gd name="T22" fmla="*/ 462 w 695"/>
                <a:gd name="T23" fmla="*/ 396 h 651"/>
                <a:gd name="T24" fmla="*/ 348 w 695"/>
                <a:gd name="T25" fmla="*/ 13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5" h="651">
                  <a:moveTo>
                    <a:pt x="695" y="651"/>
                  </a:moveTo>
                  <a:lnTo>
                    <a:pt x="571" y="651"/>
                  </a:lnTo>
                  <a:lnTo>
                    <a:pt x="503" y="495"/>
                  </a:lnTo>
                  <a:lnTo>
                    <a:pt x="187" y="495"/>
                  </a:lnTo>
                  <a:lnTo>
                    <a:pt x="119" y="651"/>
                  </a:lnTo>
                  <a:lnTo>
                    <a:pt x="0" y="651"/>
                  </a:lnTo>
                  <a:lnTo>
                    <a:pt x="296" y="0"/>
                  </a:lnTo>
                  <a:lnTo>
                    <a:pt x="405" y="0"/>
                  </a:lnTo>
                  <a:lnTo>
                    <a:pt x="695" y="651"/>
                  </a:lnTo>
                  <a:close/>
                  <a:moveTo>
                    <a:pt x="348" y="136"/>
                  </a:moveTo>
                  <a:lnTo>
                    <a:pt x="234" y="396"/>
                  </a:lnTo>
                  <a:lnTo>
                    <a:pt x="462" y="396"/>
                  </a:lnTo>
                  <a:lnTo>
                    <a:pt x="348" y="136"/>
                  </a:lnTo>
                  <a:close/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32" name="Freeform 44"/>
            <p:cNvSpPr>
              <a:spLocks noEditPoints="1"/>
            </p:cNvSpPr>
            <p:nvPr userDrawn="1"/>
          </p:nvSpPr>
          <p:spPr bwMode="auto">
            <a:xfrm>
              <a:off x="15160625" y="6427788"/>
              <a:ext cx="963613" cy="1023938"/>
            </a:xfrm>
            <a:custGeom>
              <a:avLst/>
              <a:gdLst>
                <a:gd name="T0" fmla="*/ 48 w 117"/>
                <a:gd name="T1" fmla="*/ 124 h 124"/>
                <a:gd name="T2" fmla="*/ 0 w 117"/>
                <a:gd name="T3" fmla="*/ 124 h 124"/>
                <a:gd name="T4" fmla="*/ 0 w 117"/>
                <a:gd name="T5" fmla="*/ 0 h 124"/>
                <a:gd name="T6" fmla="*/ 48 w 117"/>
                <a:gd name="T7" fmla="*/ 0 h 124"/>
                <a:gd name="T8" fmla="*/ 117 w 117"/>
                <a:gd name="T9" fmla="*/ 62 h 124"/>
                <a:gd name="T10" fmla="*/ 48 w 117"/>
                <a:gd name="T11" fmla="*/ 124 h 124"/>
                <a:gd name="T12" fmla="*/ 48 w 117"/>
                <a:gd name="T13" fmla="*/ 20 h 124"/>
                <a:gd name="T14" fmla="*/ 23 w 117"/>
                <a:gd name="T15" fmla="*/ 20 h 124"/>
                <a:gd name="T16" fmla="*/ 23 w 117"/>
                <a:gd name="T17" fmla="*/ 104 h 124"/>
                <a:gd name="T18" fmla="*/ 48 w 117"/>
                <a:gd name="T19" fmla="*/ 104 h 124"/>
                <a:gd name="T20" fmla="*/ 93 w 117"/>
                <a:gd name="T21" fmla="*/ 62 h 124"/>
                <a:gd name="T22" fmla="*/ 48 w 117"/>
                <a:gd name="T23" fmla="*/ 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7" h="124">
                  <a:moveTo>
                    <a:pt x="48" y="124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89" y="0"/>
                    <a:pt x="117" y="27"/>
                    <a:pt x="117" y="62"/>
                  </a:cubicBezTo>
                  <a:cubicBezTo>
                    <a:pt x="117" y="97"/>
                    <a:pt x="89" y="124"/>
                    <a:pt x="48" y="124"/>
                  </a:cubicBezTo>
                  <a:moveTo>
                    <a:pt x="48" y="20"/>
                  </a:moveTo>
                  <a:cubicBezTo>
                    <a:pt x="23" y="20"/>
                    <a:pt x="23" y="20"/>
                    <a:pt x="23" y="20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75" y="104"/>
                    <a:pt x="93" y="87"/>
                    <a:pt x="93" y="62"/>
                  </a:cubicBezTo>
                  <a:cubicBezTo>
                    <a:pt x="93" y="38"/>
                    <a:pt x="75" y="20"/>
                    <a:pt x="48" y="20"/>
                  </a:cubicBezTo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33" name="Freeform 45"/>
            <p:cNvSpPr>
              <a:spLocks/>
            </p:cNvSpPr>
            <p:nvPr userDrawn="1"/>
          </p:nvSpPr>
          <p:spPr bwMode="auto">
            <a:xfrm>
              <a:off x="16454438" y="6427788"/>
              <a:ext cx="800100" cy="1023938"/>
            </a:xfrm>
            <a:custGeom>
              <a:avLst/>
              <a:gdLst>
                <a:gd name="T0" fmla="*/ 498 w 504"/>
                <a:gd name="T1" fmla="*/ 99 h 645"/>
                <a:gd name="T2" fmla="*/ 119 w 504"/>
                <a:gd name="T3" fmla="*/ 99 h 645"/>
                <a:gd name="T4" fmla="*/ 119 w 504"/>
                <a:gd name="T5" fmla="*/ 270 h 645"/>
                <a:gd name="T6" fmla="*/ 452 w 504"/>
                <a:gd name="T7" fmla="*/ 270 h 645"/>
                <a:gd name="T8" fmla="*/ 452 w 504"/>
                <a:gd name="T9" fmla="*/ 369 h 645"/>
                <a:gd name="T10" fmla="*/ 119 w 504"/>
                <a:gd name="T11" fmla="*/ 369 h 645"/>
                <a:gd name="T12" fmla="*/ 119 w 504"/>
                <a:gd name="T13" fmla="*/ 541 h 645"/>
                <a:gd name="T14" fmla="*/ 504 w 504"/>
                <a:gd name="T15" fmla="*/ 541 h 645"/>
                <a:gd name="T16" fmla="*/ 504 w 504"/>
                <a:gd name="T17" fmla="*/ 645 h 645"/>
                <a:gd name="T18" fmla="*/ 0 w 504"/>
                <a:gd name="T19" fmla="*/ 645 h 645"/>
                <a:gd name="T20" fmla="*/ 0 w 504"/>
                <a:gd name="T21" fmla="*/ 0 h 645"/>
                <a:gd name="T22" fmla="*/ 498 w 504"/>
                <a:gd name="T23" fmla="*/ 0 h 645"/>
                <a:gd name="T24" fmla="*/ 498 w 504"/>
                <a:gd name="T25" fmla="*/ 9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4" h="645">
                  <a:moveTo>
                    <a:pt x="498" y="99"/>
                  </a:moveTo>
                  <a:lnTo>
                    <a:pt x="119" y="99"/>
                  </a:lnTo>
                  <a:lnTo>
                    <a:pt x="119" y="270"/>
                  </a:lnTo>
                  <a:lnTo>
                    <a:pt x="452" y="270"/>
                  </a:lnTo>
                  <a:lnTo>
                    <a:pt x="452" y="369"/>
                  </a:lnTo>
                  <a:lnTo>
                    <a:pt x="119" y="369"/>
                  </a:lnTo>
                  <a:lnTo>
                    <a:pt x="119" y="541"/>
                  </a:lnTo>
                  <a:lnTo>
                    <a:pt x="504" y="541"/>
                  </a:lnTo>
                  <a:lnTo>
                    <a:pt x="504" y="645"/>
                  </a:lnTo>
                  <a:lnTo>
                    <a:pt x="0" y="645"/>
                  </a:lnTo>
                  <a:lnTo>
                    <a:pt x="0" y="0"/>
                  </a:lnTo>
                  <a:lnTo>
                    <a:pt x="498" y="0"/>
                  </a:lnTo>
                  <a:lnTo>
                    <a:pt x="498" y="99"/>
                  </a:lnTo>
                  <a:close/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25771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orme libre : forme 32"/>
          <p:cNvSpPr>
            <a:spLocks/>
          </p:cNvSpPr>
          <p:nvPr userDrawn="1"/>
        </p:nvSpPr>
        <p:spPr bwMode="auto">
          <a:xfrm>
            <a:off x="6089601" y="0"/>
            <a:ext cx="3089558" cy="6858000"/>
          </a:xfrm>
          <a:custGeom>
            <a:avLst/>
            <a:gdLst>
              <a:gd name="connsiteX0" fmla="*/ 3050999 w 3089558"/>
              <a:gd name="connsiteY0" fmla="*/ 0 h 6858000"/>
              <a:gd name="connsiteX1" fmla="*/ 3089558 w 3089558"/>
              <a:gd name="connsiteY1" fmla="*/ 0 h 6858000"/>
              <a:gd name="connsiteX2" fmla="*/ 3089558 w 3089558"/>
              <a:gd name="connsiteY2" fmla="*/ 6858000 h 6858000"/>
              <a:gd name="connsiteX3" fmla="*/ 0 w 308955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9558" h="6858000">
                <a:moveTo>
                  <a:pt x="3050999" y="0"/>
                </a:moveTo>
                <a:lnTo>
                  <a:pt x="3089558" y="0"/>
                </a:lnTo>
                <a:lnTo>
                  <a:pt x="30895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25" name="Forme libre : forme 24"/>
          <p:cNvSpPr>
            <a:spLocks/>
          </p:cNvSpPr>
          <p:nvPr userDrawn="1"/>
        </p:nvSpPr>
        <p:spPr bwMode="auto">
          <a:xfrm>
            <a:off x="0" y="0"/>
            <a:ext cx="5576454" cy="6858000"/>
          </a:xfrm>
          <a:custGeom>
            <a:avLst/>
            <a:gdLst>
              <a:gd name="connsiteX0" fmla="*/ 0 w 5576454"/>
              <a:gd name="connsiteY0" fmla="*/ 0 h 6858000"/>
              <a:gd name="connsiteX1" fmla="*/ 5576454 w 5576454"/>
              <a:gd name="connsiteY1" fmla="*/ 0 h 6858000"/>
              <a:gd name="connsiteX2" fmla="*/ 2525454 w 5576454"/>
              <a:gd name="connsiteY2" fmla="*/ 6858000 h 6858000"/>
              <a:gd name="connsiteX3" fmla="*/ 0 w 557645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76454" h="6858000">
                <a:moveTo>
                  <a:pt x="0" y="0"/>
                </a:moveTo>
                <a:lnTo>
                  <a:pt x="5576454" y="0"/>
                </a:lnTo>
                <a:lnTo>
                  <a:pt x="25254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67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23" name="Forme libre : forme 22"/>
          <p:cNvSpPr>
            <a:spLocks/>
          </p:cNvSpPr>
          <p:nvPr userDrawn="1"/>
        </p:nvSpPr>
        <p:spPr bwMode="auto">
          <a:xfrm>
            <a:off x="0" y="0"/>
            <a:ext cx="6389254" cy="6858000"/>
          </a:xfrm>
          <a:custGeom>
            <a:avLst/>
            <a:gdLst>
              <a:gd name="connsiteX0" fmla="*/ 0 w 6389254"/>
              <a:gd name="connsiteY0" fmla="*/ 0 h 6858000"/>
              <a:gd name="connsiteX1" fmla="*/ 6389254 w 6389254"/>
              <a:gd name="connsiteY1" fmla="*/ 0 h 6858000"/>
              <a:gd name="connsiteX2" fmla="*/ 3338254 w 6389254"/>
              <a:gd name="connsiteY2" fmla="*/ 6858000 h 6858000"/>
              <a:gd name="connsiteX3" fmla="*/ 0 w 638925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89254" h="6858000">
                <a:moveTo>
                  <a:pt x="0" y="0"/>
                </a:moveTo>
                <a:lnTo>
                  <a:pt x="6389254" y="0"/>
                </a:lnTo>
                <a:lnTo>
                  <a:pt x="33382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21" name="Forme libre : forme 20"/>
          <p:cNvSpPr>
            <a:spLocks/>
          </p:cNvSpPr>
          <p:nvPr userDrawn="1"/>
        </p:nvSpPr>
        <p:spPr bwMode="auto">
          <a:xfrm>
            <a:off x="0" y="0"/>
            <a:ext cx="6084454" cy="6858000"/>
          </a:xfrm>
          <a:custGeom>
            <a:avLst/>
            <a:gdLst>
              <a:gd name="connsiteX0" fmla="*/ 0 w 6084454"/>
              <a:gd name="connsiteY0" fmla="*/ 0 h 6858000"/>
              <a:gd name="connsiteX1" fmla="*/ 6084454 w 6084454"/>
              <a:gd name="connsiteY1" fmla="*/ 0 h 6858000"/>
              <a:gd name="connsiteX2" fmla="*/ 3033454 w 6084454"/>
              <a:gd name="connsiteY2" fmla="*/ 6858000 h 6858000"/>
              <a:gd name="connsiteX3" fmla="*/ 0 w 608445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84454" h="6858000">
                <a:moveTo>
                  <a:pt x="0" y="0"/>
                </a:moveTo>
                <a:lnTo>
                  <a:pt x="6084454" y="0"/>
                </a:lnTo>
                <a:lnTo>
                  <a:pt x="30334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30" name="Forme libre : forme 29"/>
          <p:cNvSpPr>
            <a:spLocks/>
          </p:cNvSpPr>
          <p:nvPr userDrawn="1"/>
        </p:nvSpPr>
        <p:spPr bwMode="auto">
          <a:xfrm>
            <a:off x="5886401" y="0"/>
            <a:ext cx="3292759" cy="6858000"/>
          </a:xfrm>
          <a:custGeom>
            <a:avLst/>
            <a:gdLst>
              <a:gd name="connsiteX0" fmla="*/ 3051000 w 3292759"/>
              <a:gd name="connsiteY0" fmla="*/ 0 h 6858000"/>
              <a:gd name="connsiteX1" fmla="*/ 3292759 w 3292759"/>
              <a:gd name="connsiteY1" fmla="*/ 0 h 6858000"/>
              <a:gd name="connsiteX2" fmla="*/ 3292759 w 3292759"/>
              <a:gd name="connsiteY2" fmla="*/ 6858000 h 6858000"/>
              <a:gd name="connsiteX3" fmla="*/ 0 w 329275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92759" h="6858000">
                <a:moveTo>
                  <a:pt x="3051000" y="0"/>
                </a:moveTo>
                <a:lnTo>
                  <a:pt x="3292759" y="0"/>
                </a:lnTo>
                <a:lnTo>
                  <a:pt x="329275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27" name="Forme libre : forme 26"/>
          <p:cNvSpPr>
            <a:spLocks/>
          </p:cNvSpPr>
          <p:nvPr userDrawn="1"/>
        </p:nvSpPr>
        <p:spPr bwMode="auto">
          <a:xfrm>
            <a:off x="7156402" y="2390298"/>
            <a:ext cx="1987599" cy="4467702"/>
          </a:xfrm>
          <a:custGeom>
            <a:avLst/>
            <a:gdLst>
              <a:gd name="connsiteX0" fmla="*/ 1987599 w 1987599"/>
              <a:gd name="connsiteY0" fmla="*/ 0 h 4467702"/>
              <a:gd name="connsiteX1" fmla="*/ 1987599 w 1987599"/>
              <a:gd name="connsiteY1" fmla="*/ 4467702 h 4467702"/>
              <a:gd name="connsiteX2" fmla="*/ 0 w 1987599"/>
              <a:gd name="connsiteY2" fmla="*/ 4467702 h 446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7599" h="4467702">
                <a:moveTo>
                  <a:pt x="1987599" y="0"/>
                </a:moveTo>
                <a:lnTo>
                  <a:pt x="1987599" y="4467702"/>
                </a:lnTo>
                <a:lnTo>
                  <a:pt x="0" y="4467702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cxnSp>
        <p:nvCxnSpPr>
          <p:cNvPr id="46" name="Connecteur droit 45"/>
          <p:cNvCxnSpPr>
            <a:cxnSpLocks/>
          </p:cNvCxnSpPr>
          <p:nvPr userDrawn="1"/>
        </p:nvCxnSpPr>
        <p:spPr>
          <a:xfrm rot="1440000">
            <a:off x="4577633" y="2112937"/>
            <a:ext cx="0" cy="243960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eur droit 68"/>
          <p:cNvCxnSpPr>
            <a:cxnSpLocks/>
          </p:cNvCxnSpPr>
          <p:nvPr userDrawn="1"/>
        </p:nvCxnSpPr>
        <p:spPr>
          <a:xfrm rot="1440000">
            <a:off x="6781082" y="4132237"/>
            <a:ext cx="0" cy="243960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eur droit 69"/>
          <p:cNvCxnSpPr>
            <a:cxnSpLocks/>
          </p:cNvCxnSpPr>
          <p:nvPr userDrawn="1"/>
        </p:nvCxnSpPr>
        <p:spPr>
          <a:xfrm rot="1440000">
            <a:off x="9238534" y="1008038"/>
            <a:ext cx="0" cy="243960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" name="Groupe 98"/>
          <p:cNvGrpSpPr/>
          <p:nvPr userDrawn="1"/>
        </p:nvGrpSpPr>
        <p:grpSpPr>
          <a:xfrm>
            <a:off x="509975" y="447675"/>
            <a:ext cx="2558105" cy="597238"/>
            <a:chOff x="509975" y="447675"/>
            <a:chExt cx="2558105" cy="597238"/>
          </a:xfrm>
        </p:grpSpPr>
        <p:sp>
          <p:nvSpPr>
            <p:cNvPr id="49" name="Freeform 27"/>
            <p:cNvSpPr>
              <a:spLocks/>
            </p:cNvSpPr>
            <p:nvPr userDrawn="1"/>
          </p:nvSpPr>
          <p:spPr bwMode="auto">
            <a:xfrm>
              <a:off x="1651203" y="659419"/>
              <a:ext cx="457985" cy="384540"/>
            </a:xfrm>
            <a:custGeom>
              <a:avLst/>
              <a:gdLst>
                <a:gd name="T0" fmla="*/ 550 w 555"/>
                <a:gd name="T1" fmla="*/ 457 h 465"/>
                <a:gd name="T2" fmla="*/ 555 w 555"/>
                <a:gd name="T3" fmla="*/ 451 h 465"/>
                <a:gd name="T4" fmla="*/ 555 w 555"/>
                <a:gd name="T5" fmla="*/ 254 h 465"/>
                <a:gd name="T6" fmla="*/ 277 w 555"/>
                <a:gd name="T7" fmla="*/ 0 h 465"/>
                <a:gd name="T8" fmla="*/ 0 w 555"/>
                <a:gd name="T9" fmla="*/ 241 h 465"/>
                <a:gd name="T10" fmla="*/ 264 w 555"/>
                <a:gd name="T11" fmla="*/ 465 h 465"/>
                <a:gd name="T12" fmla="*/ 344 w 555"/>
                <a:gd name="T13" fmla="*/ 457 h 465"/>
                <a:gd name="T14" fmla="*/ 362 w 555"/>
                <a:gd name="T15" fmla="*/ 399 h 465"/>
                <a:gd name="T16" fmla="*/ 355 w 555"/>
                <a:gd name="T17" fmla="*/ 390 h 465"/>
                <a:gd name="T18" fmla="*/ 272 w 555"/>
                <a:gd name="T19" fmla="*/ 405 h 465"/>
                <a:gd name="T20" fmla="*/ 110 w 555"/>
                <a:gd name="T21" fmla="*/ 240 h 465"/>
                <a:gd name="T22" fmla="*/ 281 w 555"/>
                <a:gd name="T23" fmla="*/ 60 h 465"/>
                <a:gd name="T24" fmla="*/ 447 w 555"/>
                <a:gd name="T25" fmla="*/ 252 h 465"/>
                <a:gd name="T26" fmla="*/ 447 w 555"/>
                <a:gd name="T27" fmla="*/ 451 h 465"/>
                <a:gd name="T28" fmla="*/ 452 w 555"/>
                <a:gd name="T29" fmla="*/ 457 h 465"/>
                <a:gd name="T30" fmla="*/ 550 w 555"/>
                <a:gd name="T31" fmla="*/ 45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5" h="465">
                  <a:moveTo>
                    <a:pt x="550" y="457"/>
                  </a:moveTo>
                  <a:cubicBezTo>
                    <a:pt x="555" y="457"/>
                    <a:pt x="555" y="454"/>
                    <a:pt x="555" y="451"/>
                  </a:cubicBezTo>
                  <a:cubicBezTo>
                    <a:pt x="555" y="254"/>
                    <a:pt x="555" y="254"/>
                    <a:pt x="555" y="254"/>
                  </a:cubicBezTo>
                  <a:cubicBezTo>
                    <a:pt x="555" y="112"/>
                    <a:pt x="481" y="0"/>
                    <a:pt x="277" y="0"/>
                  </a:cubicBezTo>
                  <a:cubicBezTo>
                    <a:pt x="115" y="0"/>
                    <a:pt x="0" y="91"/>
                    <a:pt x="0" y="241"/>
                  </a:cubicBezTo>
                  <a:cubicBezTo>
                    <a:pt x="0" y="362"/>
                    <a:pt x="73" y="465"/>
                    <a:pt x="264" y="465"/>
                  </a:cubicBezTo>
                  <a:cubicBezTo>
                    <a:pt x="292" y="465"/>
                    <a:pt x="319" y="462"/>
                    <a:pt x="344" y="457"/>
                  </a:cubicBezTo>
                  <a:cubicBezTo>
                    <a:pt x="362" y="399"/>
                    <a:pt x="362" y="399"/>
                    <a:pt x="362" y="399"/>
                  </a:cubicBezTo>
                  <a:cubicBezTo>
                    <a:pt x="364" y="392"/>
                    <a:pt x="360" y="389"/>
                    <a:pt x="355" y="390"/>
                  </a:cubicBezTo>
                  <a:cubicBezTo>
                    <a:pt x="329" y="400"/>
                    <a:pt x="304" y="405"/>
                    <a:pt x="272" y="405"/>
                  </a:cubicBezTo>
                  <a:cubicBezTo>
                    <a:pt x="145" y="405"/>
                    <a:pt x="110" y="316"/>
                    <a:pt x="110" y="240"/>
                  </a:cubicBezTo>
                  <a:cubicBezTo>
                    <a:pt x="110" y="127"/>
                    <a:pt x="176" y="60"/>
                    <a:pt x="281" y="60"/>
                  </a:cubicBezTo>
                  <a:cubicBezTo>
                    <a:pt x="408" y="60"/>
                    <a:pt x="447" y="137"/>
                    <a:pt x="447" y="252"/>
                  </a:cubicBezTo>
                  <a:cubicBezTo>
                    <a:pt x="447" y="451"/>
                    <a:pt x="447" y="451"/>
                    <a:pt x="447" y="451"/>
                  </a:cubicBezTo>
                  <a:cubicBezTo>
                    <a:pt x="447" y="455"/>
                    <a:pt x="449" y="457"/>
                    <a:pt x="452" y="457"/>
                  </a:cubicBezTo>
                  <a:lnTo>
                    <a:pt x="550" y="45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50" name="Freeform 28"/>
            <p:cNvSpPr>
              <a:spLocks/>
            </p:cNvSpPr>
            <p:nvPr userDrawn="1"/>
          </p:nvSpPr>
          <p:spPr bwMode="auto">
            <a:xfrm>
              <a:off x="1364107" y="447675"/>
              <a:ext cx="391855" cy="589766"/>
            </a:xfrm>
            <a:custGeom>
              <a:avLst/>
              <a:gdLst>
                <a:gd name="T0" fmla="*/ 434 w 475"/>
                <a:gd name="T1" fmla="*/ 95 h 713"/>
                <a:gd name="T2" fmla="*/ 443 w 475"/>
                <a:gd name="T3" fmla="*/ 94 h 713"/>
                <a:gd name="T4" fmla="*/ 475 w 475"/>
                <a:gd name="T5" fmla="*/ 30 h 713"/>
                <a:gd name="T6" fmla="*/ 308 w 475"/>
                <a:gd name="T7" fmla="*/ 0 h 713"/>
                <a:gd name="T8" fmla="*/ 70 w 475"/>
                <a:gd name="T9" fmla="*/ 225 h 713"/>
                <a:gd name="T10" fmla="*/ 70 w 475"/>
                <a:gd name="T11" fmla="*/ 274 h 713"/>
                <a:gd name="T12" fmla="*/ 6 w 475"/>
                <a:gd name="T13" fmla="*/ 274 h 713"/>
                <a:gd name="T14" fmla="*/ 0 w 475"/>
                <a:gd name="T15" fmla="*/ 280 h 713"/>
                <a:gd name="T16" fmla="*/ 0 w 475"/>
                <a:gd name="T17" fmla="*/ 318 h 713"/>
                <a:gd name="T18" fmla="*/ 6 w 475"/>
                <a:gd name="T19" fmla="*/ 324 h 713"/>
                <a:gd name="T20" fmla="*/ 71 w 475"/>
                <a:gd name="T21" fmla="*/ 324 h 713"/>
                <a:gd name="T22" fmla="*/ 71 w 475"/>
                <a:gd name="T23" fmla="*/ 707 h 713"/>
                <a:gd name="T24" fmla="*/ 77 w 475"/>
                <a:gd name="T25" fmla="*/ 713 h 713"/>
                <a:gd name="T26" fmla="*/ 164 w 475"/>
                <a:gd name="T27" fmla="*/ 713 h 713"/>
                <a:gd name="T28" fmla="*/ 168 w 475"/>
                <a:gd name="T29" fmla="*/ 707 h 713"/>
                <a:gd name="T30" fmla="*/ 168 w 475"/>
                <a:gd name="T31" fmla="*/ 324 h 713"/>
                <a:gd name="T32" fmla="*/ 288 w 475"/>
                <a:gd name="T33" fmla="*/ 324 h 713"/>
                <a:gd name="T34" fmla="*/ 297 w 475"/>
                <a:gd name="T35" fmla="*/ 318 h 713"/>
                <a:gd name="T36" fmla="*/ 316 w 475"/>
                <a:gd name="T37" fmla="*/ 280 h 713"/>
                <a:gd name="T38" fmla="*/ 310 w 475"/>
                <a:gd name="T39" fmla="*/ 274 h 713"/>
                <a:gd name="T40" fmla="*/ 168 w 475"/>
                <a:gd name="T41" fmla="*/ 274 h 713"/>
                <a:gd name="T42" fmla="*/ 168 w 475"/>
                <a:gd name="T43" fmla="*/ 211 h 713"/>
                <a:gd name="T44" fmla="*/ 311 w 475"/>
                <a:gd name="T45" fmla="*/ 59 h 713"/>
                <a:gd name="T46" fmla="*/ 434 w 475"/>
                <a:gd name="T47" fmla="*/ 95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5" h="713">
                  <a:moveTo>
                    <a:pt x="434" y="95"/>
                  </a:moveTo>
                  <a:cubicBezTo>
                    <a:pt x="437" y="98"/>
                    <a:pt x="441" y="98"/>
                    <a:pt x="443" y="94"/>
                  </a:cubicBezTo>
                  <a:cubicBezTo>
                    <a:pt x="475" y="30"/>
                    <a:pt x="475" y="30"/>
                    <a:pt x="475" y="30"/>
                  </a:cubicBezTo>
                  <a:cubicBezTo>
                    <a:pt x="436" y="12"/>
                    <a:pt x="368" y="0"/>
                    <a:pt x="308" y="0"/>
                  </a:cubicBezTo>
                  <a:cubicBezTo>
                    <a:pt x="170" y="0"/>
                    <a:pt x="70" y="72"/>
                    <a:pt x="70" y="225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6" y="274"/>
                    <a:pt x="6" y="274"/>
                    <a:pt x="6" y="274"/>
                  </a:cubicBezTo>
                  <a:cubicBezTo>
                    <a:pt x="3" y="274"/>
                    <a:pt x="0" y="276"/>
                    <a:pt x="0" y="280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3" y="324"/>
                    <a:pt x="6" y="324"/>
                  </a:cubicBezTo>
                  <a:cubicBezTo>
                    <a:pt x="71" y="324"/>
                    <a:pt x="71" y="324"/>
                    <a:pt x="71" y="324"/>
                  </a:cubicBezTo>
                  <a:cubicBezTo>
                    <a:pt x="71" y="707"/>
                    <a:pt x="71" y="707"/>
                    <a:pt x="71" y="707"/>
                  </a:cubicBezTo>
                  <a:cubicBezTo>
                    <a:pt x="71" y="710"/>
                    <a:pt x="73" y="713"/>
                    <a:pt x="77" y="713"/>
                  </a:cubicBezTo>
                  <a:cubicBezTo>
                    <a:pt x="164" y="713"/>
                    <a:pt x="164" y="713"/>
                    <a:pt x="164" y="713"/>
                  </a:cubicBezTo>
                  <a:cubicBezTo>
                    <a:pt x="167" y="713"/>
                    <a:pt x="168" y="710"/>
                    <a:pt x="168" y="707"/>
                  </a:cubicBezTo>
                  <a:cubicBezTo>
                    <a:pt x="168" y="324"/>
                    <a:pt x="168" y="324"/>
                    <a:pt x="168" y="324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93" y="324"/>
                    <a:pt x="295" y="322"/>
                    <a:pt x="297" y="318"/>
                  </a:cubicBezTo>
                  <a:cubicBezTo>
                    <a:pt x="316" y="280"/>
                    <a:pt x="316" y="280"/>
                    <a:pt x="316" y="280"/>
                  </a:cubicBezTo>
                  <a:cubicBezTo>
                    <a:pt x="317" y="276"/>
                    <a:pt x="314" y="274"/>
                    <a:pt x="310" y="274"/>
                  </a:cubicBezTo>
                  <a:cubicBezTo>
                    <a:pt x="168" y="274"/>
                    <a:pt x="168" y="274"/>
                    <a:pt x="168" y="274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134"/>
                    <a:pt x="200" y="59"/>
                    <a:pt x="311" y="59"/>
                  </a:cubicBezTo>
                  <a:cubicBezTo>
                    <a:pt x="362" y="59"/>
                    <a:pt x="404" y="75"/>
                    <a:pt x="434" y="95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51" name="Freeform 29"/>
            <p:cNvSpPr>
              <a:spLocks/>
            </p:cNvSpPr>
            <p:nvPr userDrawn="1"/>
          </p:nvSpPr>
          <p:spPr bwMode="auto">
            <a:xfrm>
              <a:off x="2605961" y="658624"/>
              <a:ext cx="462119" cy="386289"/>
            </a:xfrm>
            <a:custGeom>
              <a:avLst/>
              <a:gdLst>
                <a:gd name="T0" fmla="*/ 466 w 560"/>
                <a:gd name="T1" fmla="*/ 446 h 467"/>
                <a:gd name="T2" fmla="*/ 495 w 560"/>
                <a:gd name="T3" fmla="*/ 391 h 467"/>
                <a:gd name="T4" fmla="*/ 489 w 560"/>
                <a:gd name="T5" fmla="*/ 384 h 467"/>
                <a:gd name="T6" fmla="*/ 324 w 560"/>
                <a:gd name="T7" fmla="*/ 407 h 467"/>
                <a:gd name="T8" fmla="*/ 111 w 560"/>
                <a:gd name="T9" fmla="*/ 235 h 467"/>
                <a:gd name="T10" fmla="*/ 285 w 560"/>
                <a:gd name="T11" fmla="*/ 56 h 467"/>
                <a:gd name="T12" fmla="*/ 439 w 560"/>
                <a:gd name="T13" fmla="*/ 207 h 467"/>
                <a:gd name="T14" fmla="*/ 172 w 560"/>
                <a:gd name="T15" fmla="*/ 207 h 467"/>
                <a:gd name="T16" fmla="*/ 165 w 560"/>
                <a:gd name="T17" fmla="*/ 213 h 467"/>
                <a:gd name="T18" fmla="*/ 165 w 560"/>
                <a:gd name="T19" fmla="*/ 250 h 467"/>
                <a:gd name="T20" fmla="*/ 172 w 560"/>
                <a:gd name="T21" fmla="*/ 256 h 467"/>
                <a:gd name="T22" fmla="*/ 535 w 560"/>
                <a:gd name="T23" fmla="*/ 256 h 467"/>
                <a:gd name="T24" fmla="*/ 547 w 560"/>
                <a:gd name="T25" fmla="*/ 248 h 467"/>
                <a:gd name="T26" fmla="*/ 285 w 560"/>
                <a:gd name="T27" fmla="*/ 0 h 467"/>
                <a:gd name="T28" fmla="*/ 0 w 560"/>
                <a:gd name="T29" fmla="*/ 235 h 467"/>
                <a:gd name="T30" fmla="*/ 308 w 560"/>
                <a:gd name="T31" fmla="*/ 467 h 467"/>
                <a:gd name="T32" fmla="*/ 466 w 560"/>
                <a:gd name="T33" fmla="*/ 446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0" h="467">
                  <a:moveTo>
                    <a:pt x="466" y="446"/>
                  </a:moveTo>
                  <a:cubicBezTo>
                    <a:pt x="495" y="391"/>
                    <a:pt x="495" y="391"/>
                    <a:pt x="495" y="391"/>
                  </a:cubicBezTo>
                  <a:cubicBezTo>
                    <a:pt x="497" y="386"/>
                    <a:pt x="494" y="382"/>
                    <a:pt x="489" y="384"/>
                  </a:cubicBezTo>
                  <a:cubicBezTo>
                    <a:pt x="453" y="395"/>
                    <a:pt x="401" y="407"/>
                    <a:pt x="324" y="407"/>
                  </a:cubicBezTo>
                  <a:cubicBezTo>
                    <a:pt x="183" y="407"/>
                    <a:pt x="111" y="345"/>
                    <a:pt x="111" y="235"/>
                  </a:cubicBezTo>
                  <a:cubicBezTo>
                    <a:pt x="111" y="119"/>
                    <a:pt x="172" y="56"/>
                    <a:pt x="285" y="56"/>
                  </a:cubicBezTo>
                  <a:cubicBezTo>
                    <a:pt x="395" y="56"/>
                    <a:pt x="445" y="133"/>
                    <a:pt x="439" y="207"/>
                  </a:cubicBezTo>
                  <a:cubicBezTo>
                    <a:pt x="172" y="207"/>
                    <a:pt x="172" y="207"/>
                    <a:pt x="172" y="207"/>
                  </a:cubicBezTo>
                  <a:cubicBezTo>
                    <a:pt x="168" y="207"/>
                    <a:pt x="165" y="210"/>
                    <a:pt x="165" y="213"/>
                  </a:cubicBezTo>
                  <a:cubicBezTo>
                    <a:pt x="165" y="250"/>
                    <a:pt x="165" y="250"/>
                    <a:pt x="165" y="250"/>
                  </a:cubicBezTo>
                  <a:cubicBezTo>
                    <a:pt x="165" y="254"/>
                    <a:pt x="166" y="256"/>
                    <a:pt x="172" y="256"/>
                  </a:cubicBezTo>
                  <a:cubicBezTo>
                    <a:pt x="535" y="256"/>
                    <a:pt x="535" y="256"/>
                    <a:pt x="535" y="256"/>
                  </a:cubicBezTo>
                  <a:cubicBezTo>
                    <a:pt x="542" y="256"/>
                    <a:pt x="546" y="255"/>
                    <a:pt x="547" y="248"/>
                  </a:cubicBezTo>
                  <a:cubicBezTo>
                    <a:pt x="560" y="120"/>
                    <a:pt x="479" y="0"/>
                    <a:pt x="285" y="0"/>
                  </a:cubicBezTo>
                  <a:cubicBezTo>
                    <a:pt x="110" y="0"/>
                    <a:pt x="0" y="100"/>
                    <a:pt x="0" y="235"/>
                  </a:cubicBezTo>
                  <a:cubicBezTo>
                    <a:pt x="0" y="390"/>
                    <a:pt x="110" y="467"/>
                    <a:pt x="308" y="467"/>
                  </a:cubicBezTo>
                  <a:cubicBezTo>
                    <a:pt x="373" y="467"/>
                    <a:pt x="428" y="459"/>
                    <a:pt x="466" y="446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52" name="Freeform 30"/>
            <p:cNvSpPr>
              <a:spLocks/>
            </p:cNvSpPr>
            <p:nvPr userDrawn="1"/>
          </p:nvSpPr>
          <p:spPr bwMode="auto">
            <a:xfrm>
              <a:off x="509975" y="658624"/>
              <a:ext cx="437320" cy="384540"/>
            </a:xfrm>
            <a:custGeom>
              <a:avLst/>
              <a:gdLst>
                <a:gd name="T0" fmla="*/ 289 w 530"/>
                <a:gd name="T1" fmla="*/ 0 h 465"/>
                <a:gd name="T2" fmla="*/ 0 w 530"/>
                <a:gd name="T3" fmla="*/ 232 h 465"/>
                <a:gd name="T4" fmla="*/ 278 w 530"/>
                <a:gd name="T5" fmla="*/ 465 h 465"/>
                <a:gd name="T6" fmla="*/ 355 w 530"/>
                <a:gd name="T7" fmla="*/ 458 h 465"/>
                <a:gd name="T8" fmla="*/ 383 w 530"/>
                <a:gd name="T9" fmla="*/ 402 h 465"/>
                <a:gd name="T10" fmla="*/ 376 w 530"/>
                <a:gd name="T11" fmla="*/ 391 h 465"/>
                <a:gd name="T12" fmla="*/ 276 w 530"/>
                <a:gd name="T13" fmla="*/ 406 h 465"/>
                <a:gd name="T14" fmla="*/ 110 w 530"/>
                <a:gd name="T15" fmla="*/ 232 h 465"/>
                <a:gd name="T16" fmla="*/ 288 w 530"/>
                <a:gd name="T17" fmla="*/ 58 h 465"/>
                <a:gd name="T18" fmla="*/ 466 w 530"/>
                <a:gd name="T19" fmla="*/ 174 h 465"/>
                <a:gd name="T20" fmla="*/ 479 w 530"/>
                <a:gd name="T21" fmla="*/ 174 h 465"/>
                <a:gd name="T22" fmla="*/ 530 w 530"/>
                <a:gd name="T23" fmla="*/ 75 h 465"/>
                <a:gd name="T24" fmla="*/ 289 w 530"/>
                <a:gd name="T25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0" h="465">
                  <a:moveTo>
                    <a:pt x="289" y="0"/>
                  </a:moveTo>
                  <a:cubicBezTo>
                    <a:pt x="96" y="0"/>
                    <a:pt x="0" y="99"/>
                    <a:pt x="0" y="232"/>
                  </a:cubicBezTo>
                  <a:cubicBezTo>
                    <a:pt x="0" y="358"/>
                    <a:pt x="86" y="465"/>
                    <a:pt x="278" y="465"/>
                  </a:cubicBezTo>
                  <a:cubicBezTo>
                    <a:pt x="306" y="465"/>
                    <a:pt x="332" y="462"/>
                    <a:pt x="355" y="458"/>
                  </a:cubicBezTo>
                  <a:cubicBezTo>
                    <a:pt x="383" y="402"/>
                    <a:pt x="383" y="402"/>
                    <a:pt x="383" y="402"/>
                  </a:cubicBezTo>
                  <a:cubicBezTo>
                    <a:pt x="387" y="393"/>
                    <a:pt x="380" y="391"/>
                    <a:pt x="376" y="391"/>
                  </a:cubicBezTo>
                  <a:cubicBezTo>
                    <a:pt x="348" y="399"/>
                    <a:pt x="323" y="406"/>
                    <a:pt x="276" y="406"/>
                  </a:cubicBezTo>
                  <a:cubicBezTo>
                    <a:pt x="182" y="406"/>
                    <a:pt x="110" y="349"/>
                    <a:pt x="110" y="232"/>
                  </a:cubicBezTo>
                  <a:cubicBezTo>
                    <a:pt x="110" y="123"/>
                    <a:pt x="179" y="58"/>
                    <a:pt x="288" y="58"/>
                  </a:cubicBezTo>
                  <a:cubicBezTo>
                    <a:pt x="385" y="58"/>
                    <a:pt x="443" y="109"/>
                    <a:pt x="466" y="174"/>
                  </a:cubicBezTo>
                  <a:cubicBezTo>
                    <a:pt x="467" y="180"/>
                    <a:pt x="476" y="179"/>
                    <a:pt x="479" y="174"/>
                  </a:cubicBezTo>
                  <a:cubicBezTo>
                    <a:pt x="530" y="75"/>
                    <a:pt x="530" y="75"/>
                    <a:pt x="530" y="75"/>
                  </a:cubicBezTo>
                  <a:cubicBezTo>
                    <a:pt x="480" y="36"/>
                    <a:pt x="397" y="0"/>
                    <a:pt x="289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53" name="Freeform 31"/>
            <p:cNvSpPr>
              <a:spLocks/>
            </p:cNvSpPr>
            <p:nvPr userDrawn="1"/>
          </p:nvSpPr>
          <p:spPr bwMode="auto">
            <a:xfrm>
              <a:off x="2186764" y="659419"/>
              <a:ext cx="386132" cy="384540"/>
            </a:xfrm>
            <a:custGeom>
              <a:avLst/>
              <a:gdLst>
                <a:gd name="T0" fmla="*/ 109 w 468"/>
                <a:gd name="T1" fmla="*/ 232 h 465"/>
                <a:gd name="T2" fmla="*/ 287 w 468"/>
                <a:gd name="T3" fmla="*/ 405 h 465"/>
                <a:gd name="T4" fmla="*/ 406 w 468"/>
                <a:gd name="T5" fmla="*/ 386 h 465"/>
                <a:gd name="T6" fmla="*/ 413 w 468"/>
                <a:gd name="T7" fmla="*/ 392 h 465"/>
                <a:gd name="T8" fmla="*/ 382 w 468"/>
                <a:gd name="T9" fmla="*/ 450 h 465"/>
                <a:gd name="T10" fmla="*/ 278 w 468"/>
                <a:gd name="T11" fmla="*/ 465 h 465"/>
                <a:gd name="T12" fmla="*/ 0 w 468"/>
                <a:gd name="T13" fmla="*/ 232 h 465"/>
                <a:gd name="T14" fmla="*/ 278 w 468"/>
                <a:gd name="T15" fmla="*/ 0 h 465"/>
                <a:gd name="T16" fmla="*/ 468 w 468"/>
                <a:gd name="T17" fmla="*/ 45 h 465"/>
                <a:gd name="T18" fmla="*/ 435 w 468"/>
                <a:gd name="T19" fmla="*/ 107 h 465"/>
                <a:gd name="T20" fmla="*/ 425 w 468"/>
                <a:gd name="T21" fmla="*/ 107 h 465"/>
                <a:gd name="T22" fmla="*/ 287 w 468"/>
                <a:gd name="T23" fmla="*/ 60 h 465"/>
                <a:gd name="T24" fmla="*/ 109 w 468"/>
                <a:gd name="T25" fmla="*/ 232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8" h="465">
                  <a:moveTo>
                    <a:pt x="109" y="232"/>
                  </a:moveTo>
                  <a:cubicBezTo>
                    <a:pt x="109" y="343"/>
                    <a:pt x="186" y="405"/>
                    <a:pt x="287" y="405"/>
                  </a:cubicBezTo>
                  <a:cubicBezTo>
                    <a:pt x="330" y="405"/>
                    <a:pt x="363" y="402"/>
                    <a:pt x="406" y="386"/>
                  </a:cubicBezTo>
                  <a:cubicBezTo>
                    <a:pt x="411" y="384"/>
                    <a:pt x="416" y="386"/>
                    <a:pt x="413" y="392"/>
                  </a:cubicBezTo>
                  <a:cubicBezTo>
                    <a:pt x="382" y="450"/>
                    <a:pt x="382" y="450"/>
                    <a:pt x="382" y="450"/>
                  </a:cubicBezTo>
                  <a:cubicBezTo>
                    <a:pt x="346" y="462"/>
                    <a:pt x="319" y="465"/>
                    <a:pt x="278" y="465"/>
                  </a:cubicBezTo>
                  <a:cubicBezTo>
                    <a:pt x="101" y="465"/>
                    <a:pt x="0" y="365"/>
                    <a:pt x="0" y="232"/>
                  </a:cubicBezTo>
                  <a:cubicBezTo>
                    <a:pt x="0" y="100"/>
                    <a:pt x="101" y="0"/>
                    <a:pt x="278" y="0"/>
                  </a:cubicBezTo>
                  <a:cubicBezTo>
                    <a:pt x="364" y="0"/>
                    <a:pt x="433" y="23"/>
                    <a:pt x="468" y="45"/>
                  </a:cubicBezTo>
                  <a:cubicBezTo>
                    <a:pt x="435" y="107"/>
                    <a:pt x="435" y="107"/>
                    <a:pt x="435" y="107"/>
                  </a:cubicBezTo>
                  <a:cubicBezTo>
                    <a:pt x="433" y="111"/>
                    <a:pt x="429" y="111"/>
                    <a:pt x="425" y="107"/>
                  </a:cubicBezTo>
                  <a:cubicBezTo>
                    <a:pt x="396" y="78"/>
                    <a:pt x="344" y="60"/>
                    <a:pt x="287" y="60"/>
                  </a:cubicBezTo>
                  <a:cubicBezTo>
                    <a:pt x="186" y="60"/>
                    <a:pt x="109" y="122"/>
                    <a:pt x="109" y="232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54" name="Freeform 32"/>
            <p:cNvSpPr>
              <a:spLocks/>
            </p:cNvSpPr>
            <p:nvPr userDrawn="1"/>
          </p:nvSpPr>
          <p:spPr bwMode="auto">
            <a:xfrm>
              <a:off x="885456" y="658624"/>
              <a:ext cx="436525" cy="384540"/>
            </a:xfrm>
            <a:custGeom>
              <a:avLst/>
              <a:gdLst>
                <a:gd name="T0" fmla="*/ 242 w 529"/>
                <a:gd name="T1" fmla="*/ 407 h 465"/>
                <a:gd name="T2" fmla="*/ 64 w 529"/>
                <a:gd name="T3" fmla="*/ 291 h 465"/>
                <a:gd name="T4" fmla="*/ 51 w 529"/>
                <a:gd name="T5" fmla="*/ 291 h 465"/>
                <a:gd name="T6" fmla="*/ 0 w 529"/>
                <a:gd name="T7" fmla="*/ 390 h 465"/>
                <a:gd name="T8" fmla="*/ 240 w 529"/>
                <a:gd name="T9" fmla="*/ 465 h 465"/>
                <a:gd name="T10" fmla="*/ 529 w 529"/>
                <a:gd name="T11" fmla="*/ 233 h 465"/>
                <a:gd name="T12" fmla="*/ 252 w 529"/>
                <a:gd name="T13" fmla="*/ 0 h 465"/>
                <a:gd name="T14" fmla="*/ 174 w 529"/>
                <a:gd name="T15" fmla="*/ 7 h 465"/>
                <a:gd name="T16" fmla="*/ 146 w 529"/>
                <a:gd name="T17" fmla="*/ 63 h 465"/>
                <a:gd name="T18" fmla="*/ 154 w 529"/>
                <a:gd name="T19" fmla="*/ 74 h 465"/>
                <a:gd name="T20" fmla="*/ 254 w 529"/>
                <a:gd name="T21" fmla="*/ 59 h 465"/>
                <a:gd name="T22" fmla="*/ 419 w 529"/>
                <a:gd name="T23" fmla="*/ 233 h 465"/>
                <a:gd name="T24" fmla="*/ 242 w 529"/>
                <a:gd name="T25" fmla="*/ 40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9" h="465">
                  <a:moveTo>
                    <a:pt x="242" y="407"/>
                  </a:moveTo>
                  <a:cubicBezTo>
                    <a:pt x="144" y="407"/>
                    <a:pt x="87" y="356"/>
                    <a:pt x="64" y="291"/>
                  </a:cubicBezTo>
                  <a:cubicBezTo>
                    <a:pt x="62" y="285"/>
                    <a:pt x="54" y="286"/>
                    <a:pt x="51" y="291"/>
                  </a:cubicBezTo>
                  <a:cubicBezTo>
                    <a:pt x="0" y="390"/>
                    <a:pt x="0" y="390"/>
                    <a:pt x="0" y="390"/>
                  </a:cubicBezTo>
                  <a:cubicBezTo>
                    <a:pt x="50" y="429"/>
                    <a:pt x="133" y="465"/>
                    <a:pt x="240" y="465"/>
                  </a:cubicBezTo>
                  <a:cubicBezTo>
                    <a:pt x="434" y="465"/>
                    <a:pt x="529" y="366"/>
                    <a:pt x="529" y="233"/>
                  </a:cubicBezTo>
                  <a:cubicBezTo>
                    <a:pt x="529" y="107"/>
                    <a:pt x="443" y="0"/>
                    <a:pt x="252" y="0"/>
                  </a:cubicBezTo>
                  <a:cubicBezTo>
                    <a:pt x="224" y="0"/>
                    <a:pt x="198" y="3"/>
                    <a:pt x="174" y="7"/>
                  </a:cubicBezTo>
                  <a:cubicBezTo>
                    <a:pt x="146" y="63"/>
                    <a:pt x="146" y="63"/>
                    <a:pt x="146" y="63"/>
                  </a:cubicBezTo>
                  <a:cubicBezTo>
                    <a:pt x="143" y="72"/>
                    <a:pt x="149" y="74"/>
                    <a:pt x="154" y="74"/>
                  </a:cubicBezTo>
                  <a:cubicBezTo>
                    <a:pt x="182" y="66"/>
                    <a:pt x="207" y="59"/>
                    <a:pt x="254" y="59"/>
                  </a:cubicBezTo>
                  <a:cubicBezTo>
                    <a:pt x="347" y="59"/>
                    <a:pt x="419" y="116"/>
                    <a:pt x="419" y="233"/>
                  </a:cubicBezTo>
                  <a:cubicBezTo>
                    <a:pt x="419" y="342"/>
                    <a:pt x="350" y="407"/>
                    <a:pt x="242" y="40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</p:grpSp>
      <p:sp>
        <p:nvSpPr>
          <p:cNvPr id="68" name="Freeform 10"/>
          <p:cNvSpPr>
            <a:spLocks/>
          </p:cNvSpPr>
          <p:nvPr userDrawn="1"/>
        </p:nvSpPr>
        <p:spPr bwMode="auto">
          <a:xfrm>
            <a:off x="-620064" y="1386500"/>
            <a:ext cx="1098853" cy="2261576"/>
          </a:xfrm>
          <a:custGeom>
            <a:avLst/>
            <a:gdLst>
              <a:gd name="T0" fmla="*/ 0 w 2099"/>
              <a:gd name="T1" fmla="*/ 4320 h 4320"/>
              <a:gd name="T2" fmla="*/ 174 w 2099"/>
              <a:gd name="T3" fmla="*/ 4320 h 4320"/>
              <a:gd name="T4" fmla="*/ 2099 w 2099"/>
              <a:gd name="T5" fmla="*/ 0 h 4320"/>
              <a:gd name="T6" fmla="*/ 1925 w 2099"/>
              <a:gd name="T7" fmla="*/ 0 h 4320"/>
              <a:gd name="T8" fmla="*/ 0 w 2099"/>
              <a:gd name="T9" fmla="*/ 432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9" h="4320">
                <a:moveTo>
                  <a:pt x="0" y="4320"/>
                </a:moveTo>
                <a:lnTo>
                  <a:pt x="174" y="4320"/>
                </a:lnTo>
                <a:lnTo>
                  <a:pt x="2099" y="0"/>
                </a:lnTo>
                <a:lnTo>
                  <a:pt x="1925" y="0"/>
                </a:lnTo>
                <a:lnTo>
                  <a:pt x="0" y="432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73" name="Espace réservé du texte 72"/>
          <p:cNvSpPr>
            <a:spLocks noGrp="1"/>
          </p:cNvSpPr>
          <p:nvPr userDrawn="1">
            <p:ph type="body" sz="quarter" idx="10"/>
          </p:nvPr>
        </p:nvSpPr>
        <p:spPr>
          <a:xfrm>
            <a:off x="429940" y="2625090"/>
            <a:ext cx="3272110" cy="1578894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400" b="1" cap="all" baseline="0">
                <a:solidFill>
                  <a:schemeClr val="accent1"/>
                </a:solidFill>
              </a:defRPr>
            </a:lvl2pPr>
            <a:lvl3pPr marL="0" indent="0">
              <a:spcBef>
                <a:spcPts val="2400"/>
              </a:spcBef>
              <a:buNone/>
              <a:defRPr sz="1200" cap="all" baseline="0">
                <a:solidFill>
                  <a:schemeClr val="bg2"/>
                </a:solidFill>
              </a:defRPr>
            </a:lvl3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75984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1.11111E-6 1.85185E-6 L -0.1151 0.34282 " pathEditMode="relative" rAng="0" ptsTypes="AA">
                                      <p:cBhvr>
                                        <p:cTn id="33" dur="1250" spd="-100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747" y="1713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4.44444E-6 3.7037E-7 L 0.22639 -0.67708 " pathEditMode="relative" rAng="0" ptsTypes="AA">
                                      <p:cBhvr>
                                        <p:cTn id="38" dur="125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319" y="-33866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3.33333E-6 -4.07407E-6 L -0.14167 0.41088 " pathEditMode="relative" rAng="0" ptsTypes="AA">
                                      <p:cBhvr>
                                        <p:cTn id="43" dur="1250" spd="-100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083" y="2053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2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3.33333E-6 1.48148E-6 L 0.10139 -0.30486 " pathEditMode="relative" rAng="0" ptsTypes="AA">
                                      <p:cBhvr>
                                        <p:cTn id="48" dur="125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69" y="-15255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50"/>
                                        <p:tgtEl>
                                          <p:spTgt spid="7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50"/>
                                        <p:tgtEl>
                                          <p:spTgt spid="7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42" presetClass="path" presetSubtype="0" decel="100000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Motion origin="layout" path="M 1.94444E-6 2.22222E-6 L 1.94444E-6 -0.15394 " pathEditMode="relative" rAng="0" ptsTypes="AA">
                                      <p:cBhvr>
                                        <p:cTn id="62" dur="750" spd="-100000" fill="hold"/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708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Motion origin="layout" path="M 2.77778E-6 -2.59259E-6 L 2.77778E-6 -0.19791 " pathEditMode="relative" rAng="0" ptsTypes="AA">
                                      <p:cBhvr>
                                        <p:cTn id="64" dur="750" spd="-100000" fill="hold"/>
                                        <p:tgtEl>
                                          <p:spTgt spid="7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907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42" presetClass="path" presetSubtype="0" decel="100000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Motion origin="layout" path="M 4.44444E-6 -2.22222E-6 L 4.44444E-6 -0.21736 " pathEditMode="relative" rAng="0" ptsTypes="AA">
                                      <p:cBhvr>
                                        <p:cTn id="66" dur="750" spd="-100000" fill="hold"/>
                                        <p:tgtEl>
                                          <p:spTgt spid="7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088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25" grpId="0" animBg="1"/>
      <p:bldP spid="23" grpId="0" animBg="1"/>
      <p:bldP spid="21" grpId="0" animBg="1"/>
      <p:bldP spid="30" grpId="0" animBg="1"/>
      <p:bldP spid="27" grpId="0" animBg="1"/>
      <p:bldP spid="68" grpId="0" animBg="1"/>
      <p:bldP spid="68" grpId="1" animBg="1"/>
      <p:bldP spid="73" grpId="0" build="allAtOnce">
        <p:tmplLst>
          <p:tmpl lvl="1">
            <p:tnLst>
              <p:par>
                <p:cTn presetID="10" presetClass="entr" presetSubtype="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1" build="allAtOnce">
        <p:tmplLst>
          <p:tmpl lvl="1">
            <p:tnLst>
              <p:par>
                <p:cTn presetID="42" presetClass="path" presetSubtype="0" decel="100000" fill="hold" nodeType="withEffect">
                  <p:stCondLst>
                    <p:cond delay="2250"/>
                  </p:stCondLst>
                  <p:childTnLst>
                    <p:animMotion origin="layout" path="M 1.94444E-6 2.22222E-6 L 1.94444E-6 -0.15394 " pathEditMode="relative" rAng="0" ptsTypes="AA">
                      <p:cBhvr>
                        <p:cTn dur="750" spd="-100000" fill="hold"/>
                        <p:tgtEl>
                          <p:spTgt spid="7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7708"/>
                    </p:animMotion>
                  </p:childTnLst>
                </p:cTn>
              </p:par>
            </p:tnLst>
          </p:tmpl>
          <p:tmpl lvl="2">
            <p:tnLst>
              <p:par>
                <p:cTn presetID="42" presetClass="path" presetSubtype="0" decel="100000" fill="hold" nodeType="withEffect">
                  <p:stCondLst>
                    <p:cond delay="2250"/>
                  </p:stCondLst>
                  <p:childTnLst>
                    <p:animMotion origin="layout" path="M 2.77778E-6 -2.59259E-6 L 2.77778E-6 -0.19791 " pathEditMode="relative" rAng="0" ptsTypes="AA">
                      <p:cBhvr>
                        <p:cTn dur="750" spd="-100000" fill="hold"/>
                        <p:tgtEl>
                          <p:spTgt spid="7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9907"/>
                    </p:animMotion>
                  </p:childTnLst>
                </p:cTn>
              </p:par>
            </p:tnLst>
          </p:tmpl>
          <p:tmpl lvl="3">
            <p:tnLst>
              <p:par>
                <p:cTn presetID="42" presetClass="path" presetSubtype="0" decel="100000" fill="hold" nodeType="withEffect">
                  <p:stCondLst>
                    <p:cond delay="2250"/>
                  </p:stCondLst>
                  <p:childTnLst>
                    <p:animMotion origin="layout" path="M 4.44444E-6 -2.22222E-6 L 4.44444E-6 -0.21736 " pathEditMode="relative" rAng="0" ptsTypes="AA">
                      <p:cBhvr>
                        <p:cTn dur="750" spd="-100000" fill="hold"/>
                        <p:tgtEl>
                          <p:spTgt spid="7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0880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5612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395288" y="6518709"/>
            <a:ext cx="148314" cy="148312"/>
          </a:xfrm>
          <a:prstGeom prst="rect">
            <a:avLst/>
          </a:prstGeom>
          <a:solidFill>
            <a:schemeClr val="bg2"/>
          </a:solidFill>
        </p:spPr>
        <p:txBody>
          <a:bodyPr vert="horz" wrap="none" lIns="91440" tIns="45720" rIns="91440" bIns="45720" rtlCol="0" anchor="ctr"/>
          <a:lstStyle>
            <a:lvl1pPr algn="ctr">
              <a:defRPr sz="800" b="1">
                <a:solidFill>
                  <a:schemeClr val="bg1"/>
                </a:solidFill>
              </a:defRPr>
            </a:lvl1pPr>
          </a:lstStyle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3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97072" y="6531309"/>
            <a:ext cx="4284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10" name="Espace réservé du texte 44"/>
          <p:cNvSpPr>
            <a:spLocks noGrp="1"/>
          </p:cNvSpPr>
          <p:nvPr>
            <p:ph type="body" sz="quarter" idx="13"/>
          </p:nvPr>
        </p:nvSpPr>
        <p:spPr>
          <a:xfrm>
            <a:off x="395287" y="395288"/>
            <a:ext cx="8353426" cy="655564"/>
          </a:xfrm>
          <a:blipFill dpi="0" rotWithShape="1">
            <a:blip r:embed="rId2"/>
            <a:srcRect/>
            <a:tile tx="6350" ty="0" sx="100000" sy="100000" flip="none" algn="tl"/>
          </a:blipFill>
        </p:spPr>
        <p:txBody>
          <a:bodyPr wrap="square" bIns="0">
            <a:spAutoFit/>
          </a:bodyPr>
          <a:lstStyle>
            <a:lvl1pPr marL="0" indent="0">
              <a:spcBef>
                <a:spcPts val="0"/>
              </a:spcBef>
              <a:buNone/>
              <a:defRPr sz="240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000" cap="all" baseline="0">
                <a:solidFill>
                  <a:schemeClr val="bg2"/>
                </a:solidFill>
              </a:defRPr>
            </a:lvl2pPr>
            <a:lvl3pPr marL="685800" indent="0">
              <a:buNone/>
              <a:defRPr/>
            </a:lvl3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18"/>
          <p:cNvSpPr>
            <a:spLocks noGrp="1"/>
          </p:cNvSpPr>
          <p:nvPr>
            <p:ph type="body" sz="quarter" idx="14" hasCustomPrompt="1"/>
          </p:nvPr>
        </p:nvSpPr>
        <p:spPr>
          <a:xfrm>
            <a:off x="619125" y="6534149"/>
            <a:ext cx="3600" cy="118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258084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395288" y="6518709"/>
            <a:ext cx="148314" cy="148312"/>
          </a:xfrm>
          <a:prstGeom prst="rect">
            <a:avLst/>
          </a:prstGeom>
          <a:solidFill>
            <a:schemeClr val="bg2"/>
          </a:solidFill>
        </p:spPr>
        <p:txBody>
          <a:bodyPr vert="horz" wrap="none" lIns="91440" tIns="45720" rIns="91440" bIns="45720" rtlCol="0" anchor="ctr"/>
          <a:lstStyle>
            <a:lvl1pPr algn="ctr">
              <a:defRPr sz="800" b="1">
                <a:solidFill>
                  <a:schemeClr val="bg1"/>
                </a:solidFill>
              </a:defRPr>
            </a:lvl1pPr>
          </a:lstStyle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3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97072" y="6531309"/>
            <a:ext cx="4284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5"/>
          </p:nvPr>
        </p:nvSpPr>
        <p:spPr>
          <a:xfrm>
            <a:off x="5430520" y="0"/>
            <a:ext cx="8348980" cy="6857999"/>
          </a:xfrm>
          <a:prstGeom prst="parallelogram">
            <a:avLst>
              <a:gd name="adj" fmla="val 44390"/>
            </a:avLst>
          </a:prstGeom>
          <a:solidFill>
            <a:schemeClr val="bg2"/>
          </a:solidFill>
        </p:spPr>
        <p:txBody>
          <a:bodyPr anchor="ctr"/>
          <a:lstStyle>
            <a:lvl1pPr marL="0" indent="0">
              <a:buNone/>
              <a:defRPr/>
            </a:lvl1pPr>
          </a:lstStyle>
          <a:p>
            <a:endParaRPr lang="fr-FR" dirty="0"/>
          </a:p>
        </p:txBody>
      </p:sp>
      <p:sp>
        <p:nvSpPr>
          <p:cNvPr id="11" name="Espace réservé du texte 44"/>
          <p:cNvSpPr>
            <a:spLocks noGrp="1"/>
          </p:cNvSpPr>
          <p:nvPr>
            <p:ph type="body" sz="quarter" idx="13"/>
          </p:nvPr>
        </p:nvSpPr>
        <p:spPr>
          <a:xfrm>
            <a:off x="395287" y="395288"/>
            <a:ext cx="8353426" cy="655564"/>
          </a:xfrm>
          <a:blipFill dpi="0" rotWithShape="1">
            <a:blip r:embed="rId2"/>
            <a:srcRect/>
            <a:tile tx="6350" ty="0" sx="100000" sy="100000" flip="none" algn="tl"/>
          </a:blipFill>
        </p:spPr>
        <p:txBody>
          <a:bodyPr wrap="square" bIns="0">
            <a:spAutoFit/>
          </a:bodyPr>
          <a:lstStyle>
            <a:lvl1pPr marL="0" indent="0">
              <a:spcBef>
                <a:spcPts val="0"/>
              </a:spcBef>
              <a:buNone/>
              <a:defRPr sz="240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000" cap="all" baseline="0">
                <a:solidFill>
                  <a:schemeClr val="bg2"/>
                </a:solidFill>
              </a:defRPr>
            </a:lvl2pPr>
            <a:lvl3pPr marL="685800" indent="0">
              <a:buNone/>
              <a:defRPr/>
            </a:lvl3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2" name="Espace réservé du texte 18"/>
          <p:cNvSpPr>
            <a:spLocks noGrp="1"/>
          </p:cNvSpPr>
          <p:nvPr>
            <p:ph type="body" sz="quarter" idx="16" hasCustomPrompt="1"/>
          </p:nvPr>
        </p:nvSpPr>
        <p:spPr>
          <a:xfrm>
            <a:off x="619125" y="6534149"/>
            <a:ext cx="3600" cy="118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25421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395288" y="6518709"/>
            <a:ext cx="148314" cy="148312"/>
          </a:xfrm>
          <a:prstGeom prst="rect">
            <a:avLst/>
          </a:prstGeom>
          <a:solidFill>
            <a:schemeClr val="bg2"/>
          </a:solidFill>
        </p:spPr>
        <p:txBody>
          <a:bodyPr vert="horz" wrap="none" lIns="91440" tIns="45720" rIns="91440" bIns="45720" rtlCol="0" anchor="ctr"/>
          <a:lstStyle>
            <a:lvl1pPr algn="ctr">
              <a:defRPr sz="800" b="1">
                <a:solidFill>
                  <a:schemeClr val="bg1"/>
                </a:solidFill>
              </a:defRPr>
            </a:lvl1pPr>
          </a:lstStyle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4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97072" y="6531309"/>
            <a:ext cx="4284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52" name="Freeform 6"/>
          <p:cNvSpPr>
            <a:spLocks/>
          </p:cNvSpPr>
          <p:nvPr userDrawn="1"/>
        </p:nvSpPr>
        <p:spPr bwMode="auto">
          <a:xfrm>
            <a:off x="2641601" y="-1588"/>
            <a:ext cx="3860800" cy="6858000"/>
          </a:xfrm>
          <a:custGeom>
            <a:avLst/>
            <a:gdLst>
              <a:gd name="T0" fmla="*/ 0 w 2432"/>
              <a:gd name="T1" fmla="*/ 4320 h 4320"/>
              <a:gd name="T2" fmla="*/ 508 w 2432"/>
              <a:gd name="T3" fmla="*/ 4320 h 4320"/>
              <a:gd name="T4" fmla="*/ 2432 w 2432"/>
              <a:gd name="T5" fmla="*/ 0 h 4320"/>
              <a:gd name="T6" fmla="*/ 1924 w 2432"/>
              <a:gd name="T7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32" h="4320">
                <a:moveTo>
                  <a:pt x="0" y="4320"/>
                </a:moveTo>
                <a:lnTo>
                  <a:pt x="508" y="4320"/>
                </a:lnTo>
                <a:lnTo>
                  <a:pt x="2432" y="0"/>
                </a:lnTo>
                <a:lnTo>
                  <a:pt x="192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57" name="Freeform 11"/>
          <p:cNvSpPr>
            <a:spLocks/>
          </p:cNvSpPr>
          <p:nvPr userDrawn="1"/>
        </p:nvSpPr>
        <p:spPr bwMode="auto">
          <a:xfrm>
            <a:off x="2906713" y="-1588"/>
            <a:ext cx="3332163" cy="6858000"/>
          </a:xfrm>
          <a:custGeom>
            <a:avLst/>
            <a:gdLst>
              <a:gd name="T0" fmla="*/ 0 w 2099"/>
              <a:gd name="T1" fmla="*/ 4320 h 4320"/>
              <a:gd name="T2" fmla="*/ 174 w 2099"/>
              <a:gd name="T3" fmla="*/ 4320 h 4320"/>
              <a:gd name="T4" fmla="*/ 2099 w 2099"/>
              <a:gd name="T5" fmla="*/ 0 h 4320"/>
              <a:gd name="T6" fmla="*/ 1925 w 2099"/>
              <a:gd name="T7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99" h="4320">
                <a:moveTo>
                  <a:pt x="0" y="4320"/>
                </a:moveTo>
                <a:lnTo>
                  <a:pt x="174" y="4320"/>
                </a:lnTo>
                <a:lnTo>
                  <a:pt x="2099" y="0"/>
                </a:lnTo>
                <a:lnTo>
                  <a:pt x="192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11" name="Espace réservé du texte 44"/>
          <p:cNvSpPr>
            <a:spLocks noGrp="1"/>
          </p:cNvSpPr>
          <p:nvPr>
            <p:ph type="body" sz="quarter" idx="13"/>
          </p:nvPr>
        </p:nvSpPr>
        <p:spPr>
          <a:xfrm>
            <a:off x="395287" y="395288"/>
            <a:ext cx="8353426" cy="655564"/>
          </a:xfrm>
          <a:blipFill dpi="0" rotWithShape="1">
            <a:blip r:embed="rId2"/>
            <a:srcRect/>
            <a:tile tx="6350" ty="0" sx="100000" sy="100000" flip="none" algn="tl"/>
          </a:blipFill>
        </p:spPr>
        <p:txBody>
          <a:bodyPr wrap="square" bIns="0">
            <a:spAutoFit/>
          </a:bodyPr>
          <a:lstStyle>
            <a:lvl1pPr marL="0" indent="0">
              <a:spcBef>
                <a:spcPts val="0"/>
              </a:spcBef>
              <a:buNone/>
              <a:defRPr sz="240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000" cap="all" baseline="0">
                <a:solidFill>
                  <a:schemeClr val="bg2"/>
                </a:solidFill>
              </a:defRPr>
            </a:lvl2pPr>
            <a:lvl3pPr marL="685800" indent="0">
              <a:buNone/>
              <a:defRPr/>
            </a:lvl3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2" name="Espace réservé du texte 18"/>
          <p:cNvSpPr>
            <a:spLocks noGrp="1"/>
          </p:cNvSpPr>
          <p:nvPr>
            <p:ph type="body" sz="quarter" idx="14" hasCustomPrompt="1"/>
          </p:nvPr>
        </p:nvSpPr>
        <p:spPr>
          <a:xfrm>
            <a:off x="619125" y="6534149"/>
            <a:ext cx="3600" cy="118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61801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395288" y="6518709"/>
            <a:ext cx="148314" cy="148312"/>
          </a:xfrm>
          <a:prstGeom prst="rect">
            <a:avLst/>
          </a:prstGeom>
          <a:solidFill>
            <a:schemeClr val="bg2"/>
          </a:solidFill>
        </p:spPr>
        <p:txBody>
          <a:bodyPr vert="horz" wrap="none" lIns="91440" tIns="45720" rIns="91440" bIns="45720" rtlCol="0" anchor="ctr"/>
          <a:lstStyle>
            <a:lvl1pPr algn="ctr">
              <a:defRPr sz="800" b="1">
                <a:solidFill>
                  <a:schemeClr val="bg1"/>
                </a:solidFill>
              </a:defRPr>
            </a:lvl1pPr>
          </a:lstStyle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97072" y="6531309"/>
            <a:ext cx="4284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7" name="Espace réservé du texte 18"/>
          <p:cNvSpPr>
            <a:spLocks noGrp="1"/>
          </p:cNvSpPr>
          <p:nvPr>
            <p:ph type="body" sz="quarter" idx="13" hasCustomPrompt="1"/>
          </p:nvPr>
        </p:nvSpPr>
        <p:spPr>
          <a:xfrm>
            <a:off x="619125" y="6534149"/>
            <a:ext cx="3600" cy="118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283337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5"/>
          </p:nvPr>
        </p:nvSpPr>
        <p:spPr>
          <a:xfrm>
            <a:off x="2677794" y="0"/>
            <a:ext cx="9704705" cy="6857999"/>
          </a:xfrm>
          <a:prstGeom prst="parallelogram">
            <a:avLst>
              <a:gd name="adj" fmla="val 44390"/>
            </a:avLst>
          </a:prstGeom>
          <a:noFill/>
        </p:spPr>
        <p:txBody>
          <a:bodyPr anchor="ctr"/>
          <a:lstStyle>
            <a:lvl1pPr marL="0" indent="0">
              <a:buNone/>
              <a:defRPr/>
            </a:lvl1pPr>
          </a:lstStyle>
          <a:p>
            <a:endParaRPr lang="fr-FR" dirty="0"/>
          </a:p>
        </p:txBody>
      </p:sp>
      <p:sp>
        <p:nvSpPr>
          <p:cNvPr id="11" name="Espace réservé du texte 44"/>
          <p:cNvSpPr>
            <a:spLocks noGrp="1"/>
          </p:cNvSpPr>
          <p:nvPr>
            <p:ph type="body" sz="quarter" idx="13"/>
          </p:nvPr>
        </p:nvSpPr>
        <p:spPr>
          <a:xfrm>
            <a:off x="395287" y="395288"/>
            <a:ext cx="8353426" cy="655564"/>
          </a:xfrm>
          <a:blipFill dpi="0" rotWithShape="1">
            <a:blip r:embed="rId2"/>
            <a:srcRect/>
            <a:tile tx="6350" ty="0" sx="100000" sy="100000" flip="none" algn="tl"/>
          </a:blipFill>
        </p:spPr>
        <p:txBody>
          <a:bodyPr wrap="square" bIns="0">
            <a:spAutoFit/>
          </a:bodyPr>
          <a:lstStyle>
            <a:lvl1pPr marL="0" indent="0">
              <a:spcBef>
                <a:spcPts val="0"/>
              </a:spcBef>
              <a:buNone/>
              <a:defRPr sz="240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000" cap="all" baseline="0">
                <a:solidFill>
                  <a:schemeClr val="bg2"/>
                </a:solidFill>
              </a:defRPr>
            </a:lvl2pPr>
            <a:lvl3pPr marL="685800" indent="0">
              <a:buNone/>
              <a:defRPr/>
            </a:lvl3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0636" y="5905500"/>
            <a:ext cx="1552974" cy="490539"/>
            <a:chOff x="-8151813" y="-601663"/>
            <a:chExt cx="25546051" cy="8069263"/>
          </a:xfrm>
        </p:grpSpPr>
        <p:sp>
          <p:nvSpPr>
            <p:cNvPr id="13" name="Freeform 27"/>
            <p:cNvSpPr>
              <a:spLocks/>
            </p:cNvSpPr>
            <p:nvPr userDrawn="1"/>
          </p:nvSpPr>
          <p:spPr bwMode="auto">
            <a:xfrm>
              <a:off x="3244850" y="1512888"/>
              <a:ext cx="4573588" cy="3840163"/>
            </a:xfrm>
            <a:custGeom>
              <a:avLst/>
              <a:gdLst>
                <a:gd name="T0" fmla="*/ 550 w 555"/>
                <a:gd name="T1" fmla="*/ 457 h 465"/>
                <a:gd name="T2" fmla="*/ 555 w 555"/>
                <a:gd name="T3" fmla="*/ 451 h 465"/>
                <a:gd name="T4" fmla="*/ 555 w 555"/>
                <a:gd name="T5" fmla="*/ 254 h 465"/>
                <a:gd name="T6" fmla="*/ 277 w 555"/>
                <a:gd name="T7" fmla="*/ 0 h 465"/>
                <a:gd name="T8" fmla="*/ 0 w 555"/>
                <a:gd name="T9" fmla="*/ 241 h 465"/>
                <a:gd name="T10" fmla="*/ 264 w 555"/>
                <a:gd name="T11" fmla="*/ 465 h 465"/>
                <a:gd name="T12" fmla="*/ 344 w 555"/>
                <a:gd name="T13" fmla="*/ 457 h 465"/>
                <a:gd name="T14" fmla="*/ 362 w 555"/>
                <a:gd name="T15" fmla="*/ 399 h 465"/>
                <a:gd name="T16" fmla="*/ 355 w 555"/>
                <a:gd name="T17" fmla="*/ 390 h 465"/>
                <a:gd name="T18" fmla="*/ 272 w 555"/>
                <a:gd name="T19" fmla="*/ 405 h 465"/>
                <a:gd name="T20" fmla="*/ 110 w 555"/>
                <a:gd name="T21" fmla="*/ 240 h 465"/>
                <a:gd name="T22" fmla="*/ 281 w 555"/>
                <a:gd name="T23" fmla="*/ 60 h 465"/>
                <a:gd name="T24" fmla="*/ 447 w 555"/>
                <a:gd name="T25" fmla="*/ 252 h 465"/>
                <a:gd name="T26" fmla="*/ 447 w 555"/>
                <a:gd name="T27" fmla="*/ 451 h 465"/>
                <a:gd name="T28" fmla="*/ 452 w 555"/>
                <a:gd name="T29" fmla="*/ 457 h 465"/>
                <a:gd name="T30" fmla="*/ 550 w 555"/>
                <a:gd name="T31" fmla="*/ 45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5" h="465">
                  <a:moveTo>
                    <a:pt x="550" y="457"/>
                  </a:moveTo>
                  <a:cubicBezTo>
                    <a:pt x="555" y="457"/>
                    <a:pt x="555" y="454"/>
                    <a:pt x="555" y="451"/>
                  </a:cubicBezTo>
                  <a:cubicBezTo>
                    <a:pt x="555" y="254"/>
                    <a:pt x="555" y="254"/>
                    <a:pt x="555" y="254"/>
                  </a:cubicBezTo>
                  <a:cubicBezTo>
                    <a:pt x="555" y="112"/>
                    <a:pt x="481" y="0"/>
                    <a:pt x="277" y="0"/>
                  </a:cubicBezTo>
                  <a:cubicBezTo>
                    <a:pt x="115" y="0"/>
                    <a:pt x="0" y="91"/>
                    <a:pt x="0" y="241"/>
                  </a:cubicBezTo>
                  <a:cubicBezTo>
                    <a:pt x="0" y="362"/>
                    <a:pt x="73" y="465"/>
                    <a:pt x="264" y="465"/>
                  </a:cubicBezTo>
                  <a:cubicBezTo>
                    <a:pt x="292" y="465"/>
                    <a:pt x="319" y="462"/>
                    <a:pt x="344" y="457"/>
                  </a:cubicBezTo>
                  <a:cubicBezTo>
                    <a:pt x="362" y="399"/>
                    <a:pt x="362" y="399"/>
                    <a:pt x="362" y="399"/>
                  </a:cubicBezTo>
                  <a:cubicBezTo>
                    <a:pt x="364" y="392"/>
                    <a:pt x="360" y="389"/>
                    <a:pt x="355" y="390"/>
                  </a:cubicBezTo>
                  <a:cubicBezTo>
                    <a:pt x="329" y="400"/>
                    <a:pt x="304" y="405"/>
                    <a:pt x="272" y="405"/>
                  </a:cubicBezTo>
                  <a:cubicBezTo>
                    <a:pt x="145" y="405"/>
                    <a:pt x="110" y="316"/>
                    <a:pt x="110" y="240"/>
                  </a:cubicBezTo>
                  <a:cubicBezTo>
                    <a:pt x="110" y="127"/>
                    <a:pt x="176" y="60"/>
                    <a:pt x="281" y="60"/>
                  </a:cubicBezTo>
                  <a:cubicBezTo>
                    <a:pt x="408" y="60"/>
                    <a:pt x="447" y="137"/>
                    <a:pt x="447" y="252"/>
                  </a:cubicBezTo>
                  <a:cubicBezTo>
                    <a:pt x="447" y="451"/>
                    <a:pt x="447" y="451"/>
                    <a:pt x="447" y="451"/>
                  </a:cubicBezTo>
                  <a:cubicBezTo>
                    <a:pt x="447" y="455"/>
                    <a:pt x="449" y="457"/>
                    <a:pt x="452" y="457"/>
                  </a:cubicBezTo>
                  <a:lnTo>
                    <a:pt x="550" y="457"/>
                  </a:lnTo>
                  <a:close/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377825" y="-601663"/>
              <a:ext cx="3913188" cy="5889625"/>
            </a:xfrm>
            <a:custGeom>
              <a:avLst/>
              <a:gdLst>
                <a:gd name="T0" fmla="*/ 434 w 475"/>
                <a:gd name="T1" fmla="*/ 95 h 713"/>
                <a:gd name="T2" fmla="*/ 443 w 475"/>
                <a:gd name="T3" fmla="*/ 94 h 713"/>
                <a:gd name="T4" fmla="*/ 475 w 475"/>
                <a:gd name="T5" fmla="*/ 30 h 713"/>
                <a:gd name="T6" fmla="*/ 308 w 475"/>
                <a:gd name="T7" fmla="*/ 0 h 713"/>
                <a:gd name="T8" fmla="*/ 70 w 475"/>
                <a:gd name="T9" fmla="*/ 225 h 713"/>
                <a:gd name="T10" fmla="*/ 70 w 475"/>
                <a:gd name="T11" fmla="*/ 274 h 713"/>
                <a:gd name="T12" fmla="*/ 6 w 475"/>
                <a:gd name="T13" fmla="*/ 274 h 713"/>
                <a:gd name="T14" fmla="*/ 0 w 475"/>
                <a:gd name="T15" fmla="*/ 280 h 713"/>
                <a:gd name="T16" fmla="*/ 0 w 475"/>
                <a:gd name="T17" fmla="*/ 318 h 713"/>
                <a:gd name="T18" fmla="*/ 6 w 475"/>
                <a:gd name="T19" fmla="*/ 324 h 713"/>
                <a:gd name="T20" fmla="*/ 71 w 475"/>
                <a:gd name="T21" fmla="*/ 324 h 713"/>
                <a:gd name="T22" fmla="*/ 71 w 475"/>
                <a:gd name="T23" fmla="*/ 707 h 713"/>
                <a:gd name="T24" fmla="*/ 77 w 475"/>
                <a:gd name="T25" fmla="*/ 713 h 713"/>
                <a:gd name="T26" fmla="*/ 164 w 475"/>
                <a:gd name="T27" fmla="*/ 713 h 713"/>
                <a:gd name="T28" fmla="*/ 168 w 475"/>
                <a:gd name="T29" fmla="*/ 707 h 713"/>
                <a:gd name="T30" fmla="*/ 168 w 475"/>
                <a:gd name="T31" fmla="*/ 324 h 713"/>
                <a:gd name="T32" fmla="*/ 288 w 475"/>
                <a:gd name="T33" fmla="*/ 324 h 713"/>
                <a:gd name="T34" fmla="*/ 297 w 475"/>
                <a:gd name="T35" fmla="*/ 318 h 713"/>
                <a:gd name="T36" fmla="*/ 316 w 475"/>
                <a:gd name="T37" fmla="*/ 280 h 713"/>
                <a:gd name="T38" fmla="*/ 310 w 475"/>
                <a:gd name="T39" fmla="*/ 274 h 713"/>
                <a:gd name="T40" fmla="*/ 168 w 475"/>
                <a:gd name="T41" fmla="*/ 274 h 713"/>
                <a:gd name="T42" fmla="*/ 168 w 475"/>
                <a:gd name="T43" fmla="*/ 211 h 713"/>
                <a:gd name="T44" fmla="*/ 311 w 475"/>
                <a:gd name="T45" fmla="*/ 59 h 713"/>
                <a:gd name="T46" fmla="*/ 434 w 475"/>
                <a:gd name="T47" fmla="*/ 95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5" h="713">
                  <a:moveTo>
                    <a:pt x="434" y="95"/>
                  </a:moveTo>
                  <a:cubicBezTo>
                    <a:pt x="437" y="98"/>
                    <a:pt x="441" y="98"/>
                    <a:pt x="443" y="94"/>
                  </a:cubicBezTo>
                  <a:cubicBezTo>
                    <a:pt x="475" y="30"/>
                    <a:pt x="475" y="30"/>
                    <a:pt x="475" y="30"/>
                  </a:cubicBezTo>
                  <a:cubicBezTo>
                    <a:pt x="436" y="12"/>
                    <a:pt x="368" y="0"/>
                    <a:pt x="308" y="0"/>
                  </a:cubicBezTo>
                  <a:cubicBezTo>
                    <a:pt x="170" y="0"/>
                    <a:pt x="70" y="72"/>
                    <a:pt x="70" y="225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6" y="274"/>
                    <a:pt x="6" y="274"/>
                    <a:pt x="6" y="274"/>
                  </a:cubicBezTo>
                  <a:cubicBezTo>
                    <a:pt x="3" y="274"/>
                    <a:pt x="0" y="276"/>
                    <a:pt x="0" y="280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3" y="324"/>
                    <a:pt x="6" y="324"/>
                  </a:cubicBezTo>
                  <a:cubicBezTo>
                    <a:pt x="71" y="324"/>
                    <a:pt x="71" y="324"/>
                    <a:pt x="71" y="324"/>
                  </a:cubicBezTo>
                  <a:cubicBezTo>
                    <a:pt x="71" y="707"/>
                    <a:pt x="71" y="707"/>
                    <a:pt x="71" y="707"/>
                  </a:cubicBezTo>
                  <a:cubicBezTo>
                    <a:pt x="71" y="710"/>
                    <a:pt x="73" y="713"/>
                    <a:pt x="77" y="713"/>
                  </a:cubicBezTo>
                  <a:cubicBezTo>
                    <a:pt x="164" y="713"/>
                    <a:pt x="164" y="713"/>
                    <a:pt x="164" y="713"/>
                  </a:cubicBezTo>
                  <a:cubicBezTo>
                    <a:pt x="167" y="713"/>
                    <a:pt x="168" y="710"/>
                    <a:pt x="168" y="707"/>
                  </a:cubicBezTo>
                  <a:cubicBezTo>
                    <a:pt x="168" y="324"/>
                    <a:pt x="168" y="324"/>
                    <a:pt x="168" y="324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93" y="324"/>
                    <a:pt x="295" y="322"/>
                    <a:pt x="297" y="318"/>
                  </a:cubicBezTo>
                  <a:cubicBezTo>
                    <a:pt x="316" y="280"/>
                    <a:pt x="316" y="280"/>
                    <a:pt x="316" y="280"/>
                  </a:cubicBezTo>
                  <a:cubicBezTo>
                    <a:pt x="317" y="276"/>
                    <a:pt x="314" y="274"/>
                    <a:pt x="310" y="274"/>
                  </a:cubicBezTo>
                  <a:cubicBezTo>
                    <a:pt x="168" y="274"/>
                    <a:pt x="168" y="274"/>
                    <a:pt x="168" y="274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134"/>
                    <a:pt x="200" y="59"/>
                    <a:pt x="311" y="59"/>
                  </a:cubicBezTo>
                  <a:cubicBezTo>
                    <a:pt x="362" y="59"/>
                    <a:pt x="404" y="75"/>
                    <a:pt x="434" y="95"/>
                  </a:cubicBezTo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5" name="Freeform 29"/>
            <p:cNvSpPr>
              <a:spLocks/>
            </p:cNvSpPr>
            <p:nvPr userDrawn="1"/>
          </p:nvSpPr>
          <p:spPr bwMode="auto">
            <a:xfrm>
              <a:off x="12779375" y="1504950"/>
              <a:ext cx="4614863" cy="3857625"/>
            </a:xfrm>
            <a:custGeom>
              <a:avLst/>
              <a:gdLst>
                <a:gd name="T0" fmla="*/ 466 w 560"/>
                <a:gd name="T1" fmla="*/ 446 h 467"/>
                <a:gd name="T2" fmla="*/ 495 w 560"/>
                <a:gd name="T3" fmla="*/ 391 h 467"/>
                <a:gd name="T4" fmla="*/ 489 w 560"/>
                <a:gd name="T5" fmla="*/ 384 h 467"/>
                <a:gd name="T6" fmla="*/ 324 w 560"/>
                <a:gd name="T7" fmla="*/ 407 h 467"/>
                <a:gd name="T8" fmla="*/ 111 w 560"/>
                <a:gd name="T9" fmla="*/ 235 h 467"/>
                <a:gd name="T10" fmla="*/ 285 w 560"/>
                <a:gd name="T11" fmla="*/ 56 h 467"/>
                <a:gd name="T12" fmla="*/ 439 w 560"/>
                <a:gd name="T13" fmla="*/ 207 h 467"/>
                <a:gd name="T14" fmla="*/ 172 w 560"/>
                <a:gd name="T15" fmla="*/ 207 h 467"/>
                <a:gd name="T16" fmla="*/ 165 w 560"/>
                <a:gd name="T17" fmla="*/ 213 h 467"/>
                <a:gd name="T18" fmla="*/ 165 w 560"/>
                <a:gd name="T19" fmla="*/ 250 h 467"/>
                <a:gd name="T20" fmla="*/ 172 w 560"/>
                <a:gd name="T21" fmla="*/ 256 h 467"/>
                <a:gd name="T22" fmla="*/ 535 w 560"/>
                <a:gd name="T23" fmla="*/ 256 h 467"/>
                <a:gd name="T24" fmla="*/ 547 w 560"/>
                <a:gd name="T25" fmla="*/ 248 h 467"/>
                <a:gd name="T26" fmla="*/ 285 w 560"/>
                <a:gd name="T27" fmla="*/ 0 h 467"/>
                <a:gd name="T28" fmla="*/ 0 w 560"/>
                <a:gd name="T29" fmla="*/ 235 h 467"/>
                <a:gd name="T30" fmla="*/ 308 w 560"/>
                <a:gd name="T31" fmla="*/ 467 h 467"/>
                <a:gd name="T32" fmla="*/ 466 w 560"/>
                <a:gd name="T33" fmla="*/ 446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0" h="467">
                  <a:moveTo>
                    <a:pt x="466" y="446"/>
                  </a:moveTo>
                  <a:cubicBezTo>
                    <a:pt x="495" y="391"/>
                    <a:pt x="495" y="391"/>
                    <a:pt x="495" y="391"/>
                  </a:cubicBezTo>
                  <a:cubicBezTo>
                    <a:pt x="497" y="386"/>
                    <a:pt x="494" y="382"/>
                    <a:pt x="489" y="384"/>
                  </a:cubicBezTo>
                  <a:cubicBezTo>
                    <a:pt x="453" y="395"/>
                    <a:pt x="401" y="407"/>
                    <a:pt x="324" y="407"/>
                  </a:cubicBezTo>
                  <a:cubicBezTo>
                    <a:pt x="183" y="407"/>
                    <a:pt x="111" y="345"/>
                    <a:pt x="111" y="235"/>
                  </a:cubicBezTo>
                  <a:cubicBezTo>
                    <a:pt x="111" y="119"/>
                    <a:pt x="172" y="56"/>
                    <a:pt x="285" y="56"/>
                  </a:cubicBezTo>
                  <a:cubicBezTo>
                    <a:pt x="395" y="56"/>
                    <a:pt x="445" y="133"/>
                    <a:pt x="439" y="207"/>
                  </a:cubicBezTo>
                  <a:cubicBezTo>
                    <a:pt x="172" y="207"/>
                    <a:pt x="172" y="207"/>
                    <a:pt x="172" y="207"/>
                  </a:cubicBezTo>
                  <a:cubicBezTo>
                    <a:pt x="168" y="207"/>
                    <a:pt x="165" y="210"/>
                    <a:pt x="165" y="213"/>
                  </a:cubicBezTo>
                  <a:cubicBezTo>
                    <a:pt x="165" y="250"/>
                    <a:pt x="165" y="250"/>
                    <a:pt x="165" y="250"/>
                  </a:cubicBezTo>
                  <a:cubicBezTo>
                    <a:pt x="165" y="254"/>
                    <a:pt x="166" y="256"/>
                    <a:pt x="172" y="256"/>
                  </a:cubicBezTo>
                  <a:cubicBezTo>
                    <a:pt x="535" y="256"/>
                    <a:pt x="535" y="256"/>
                    <a:pt x="535" y="256"/>
                  </a:cubicBezTo>
                  <a:cubicBezTo>
                    <a:pt x="542" y="256"/>
                    <a:pt x="546" y="255"/>
                    <a:pt x="547" y="248"/>
                  </a:cubicBezTo>
                  <a:cubicBezTo>
                    <a:pt x="560" y="120"/>
                    <a:pt x="479" y="0"/>
                    <a:pt x="285" y="0"/>
                  </a:cubicBezTo>
                  <a:cubicBezTo>
                    <a:pt x="110" y="0"/>
                    <a:pt x="0" y="100"/>
                    <a:pt x="0" y="235"/>
                  </a:cubicBezTo>
                  <a:cubicBezTo>
                    <a:pt x="0" y="390"/>
                    <a:pt x="110" y="467"/>
                    <a:pt x="308" y="467"/>
                  </a:cubicBezTo>
                  <a:cubicBezTo>
                    <a:pt x="373" y="467"/>
                    <a:pt x="428" y="459"/>
                    <a:pt x="466" y="446"/>
                  </a:cubicBezTo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6" name="Freeform 30"/>
            <p:cNvSpPr>
              <a:spLocks/>
            </p:cNvSpPr>
            <p:nvPr userDrawn="1"/>
          </p:nvSpPr>
          <p:spPr bwMode="auto">
            <a:xfrm>
              <a:off x="-8151813" y="1504950"/>
              <a:ext cx="4367213" cy="3840163"/>
            </a:xfrm>
            <a:custGeom>
              <a:avLst/>
              <a:gdLst>
                <a:gd name="T0" fmla="*/ 289 w 530"/>
                <a:gd name="T1" fmla="*/ 0 h 465"/>
                <a:gd name="T2" fmla="*/ 0 w 530"/>
                <a:gd name="T3" fmla="*/ 232 h 465"/>
                <a:gd name="T4" fmla="*/ 278 w 530"/>
                <a:gd name="T5" fmla="*/ 465 h 465"/>
                <a:gd name="T6" fmla="*/ 355 w 530"/>
                <a:gd name="T7" fmla="*/ 458 h 465"/>
                <a:gd name="T8" fmla="*/ 383 w 530"/>
                <a:gd name="T9" fmla="*/ 402 h 465"/>
                <a:gd name="T10" fmla="*/ 376 w 530"/>
                <a:gd name="T11" fmla="*/ 391 h 465"/>
                <a:gd name="T12" fmla="*/ 276 w 530"/>
                <a:gd name="T13" fmla="*/ 406 h 465"/>
                <a:gd name="T14" fmla="*/ 110 w 530"/>
                <a:gd name="T15" fmla="*/ 232 h 465"/>
                <a:gd name="T16" fmla="*/ 288 w 530"/>
                <a:gd name="T17" fmla="*/ 58 h 465"/>
                <a:gd name="T18" fmla="*/ 466 w 530"/>
                <a:gd name="T19" fmla="*/ 174 h 465"/>
                <a:gd name="T20" fmla="*/ 479 w 530"/>
                <a:gd name="T21" fmla="*/ 174 h 465"/>
                <a:gd name="T22" fmla="*/ 530 w 530"/>
                <a:gd name="T23" fmla="*/ 75 h 465"/>
                <a:gd name="T24" fmla="*/ 289 w 530"/>
                <a:gd name="T25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0" h="465">
                  <a:moveTo>
                    <a:pt x="289" y="0"/>
                  </a:moveTo>
                  <a:cubicBezTo>
                    <a:pt x="96" y="0"/>
                    <a:pt x="0" y="99"/>
                    <a:pt x="0" y="232"/>
                  </a:cubicBezTo>
                  <a:cubicBezTo>
                    <a:pt x="0" y="358"/>
                    <a:pt x="86" y="465"/>
                    <a:pt x="278" y="465"/>
                  </a:cubicBezTo>
                  <a:cubicBezTo>
                    <a:pt x="306" y="465"/>
                    <a:pt x="332" y="462"/>
                    <a:pt x="355" y="458"/>
                  </a:cubicBezTo>
                  <a:cubicBezTo>
                    <a:pt x="383" y="402"/>
                    <a:pt x="383" y="402"/>
                    <a:pt x="383" y="402"/>
                  </a:cubicBezTo>
                  <a:cubicBezTo>
                    <a:pt x="387" y="393"/>
                    <a:pt x="380" y="391"/>
                    <a:pt x="376" y="391"/>
                  </a:cubicBezTo>
                  <a:cubicBezTo>
                    <a:pt x="348" y="399"/>
                    <a:pt x="323" y="406"/>
                    <a:pt x="276" y="406"/>
                  </a:cubicBezTo>
                  <a:cubicBezTo>
                    <a:pt x="182" y="406"/>
                    <a:pt x="110" y="349"/>
                    <a:pt x="110" y="232"/>
                  </a:cubicBezTo>
                  <a:cubicBezTo>
                    <a:pt x="110" y="123"/>
                    <a:pt x="179" y="58"/>
                    <a:pt x="288" y="58"/>
                  </a:cubicBezTo>
                  <a:cubicBezTo>
                    <a:pt x="385" y="58"/>
                    <a:pt x="443" y="109"/>
                    <a:pt x="466" y="174"/>
                  </a:cubicBezTo>
                  <a:cubicBezTo>
                    <a:pt x="467" y="180"/>
                    <a:pt x="476" y="179"/>
                    <a:pt x="479" y="174"/>
                  </a:cubicBezTo>
                  <a:cubicBezTo>
                    <a:pt x="530" y="75"/>
                    <a:pt x="530" y="75"/>
                    <a:pt x="530" y="75"/>
                  </a:cubicBezTo>
                  <a:cubicBezTo>
                    <a:pt x="480" y="36"/>
                    <a:pt x="397" y="0"/>
                    <a:pt x="289" y="0"/>
                  </a:cubicBezTo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7" name="Freeform 31"/>
            <p:cNvSpPr>
              <a:spLocks/>
            </p:cNvSpPr>
            <p:nvPr userDrawn="1"/>
          </p:nvSpPr>
          <p:spPr bwMode="auto">
            <a:xfrm>
              <a:off x="8593138" y="1512888"/>
              <a:ext cx="3856038" cy="3840163"/>
            </a:xfrm>
            <a:custGeom>
              <a:avLst/>
              <a:gdLst>
                <a:gd name="T0" fmla="*/ 109 w 468"/>
                <a:gd name="T1" fmla="*/ 232 h 465"/>
                <a:gd name="T2" fmla="*/ 287 w 468"/>
                <a:gd name="T3" fmla="*/ 405 h 465"/>
                <a:gd name="T4" fmla="*/ 406 w 468"/>
                <a:gd name="T5" fmla="*/ 386 h 465"/>
                <a:gd name="T6" fmla="*/ 413 w 468"/>
                <a:gd name="T7" fmla="*/ 392 h 465"/>
                <a:gd name="T8" fmla="*/ 382 w 468"/>
                <a:gd name="T9" fmla="*/ 450 h 465"/>
                <a:gd name="T10" fmla="*/ 278 w 468"/>
                <a:gd name="T11" fmla="*/ 465 h 465"/>
                <a:gd name="T12" fmla="*/ 0 w 468"/>
                <a:gd name="T13" fmla="*/ 232 h 465"/>
                <a:gd name="T14" fmla="*/ 278 w 468"/>
                <a:gd name="T15" fmla="*/ 0 h 465"/>
                <a:gd name="T16" fmla="*/ 468 w 468"/>
                <a:gd name="T17" fmla="*/ 45 h 465"/>
                <a:gd name="T18" fmla="*/ 435 w 468"/>
                <a:gd name="T19" fmla="*/ 107 h 465"/>
                <a:gd name="T20" fmla="*/ 425 w 468"/>
                <a:gd name="T21" fmla="*/ 107 h 465"/>
                <a:gd name="T22" fmla="*/ 287 w 468"/>
                <a:gd name="T23" fmla="*/ 60 h 465"/>
                <a:gd name="T24" fmla="*/ 109 w 468"/>
                <a:gd name="T25" fmla="*/ 232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8" h="465">
                  <a:moveTo>
                    <a:pt x="109" y="232"/>
                  </a:moveTo>
                  <a:cubicBezTo>
                    <a:pt x="109" y="343"/>
                    <a:pt x="186" y="405"/>
                    <a:pt x="287" y="405"/>
                  </a:cubicBezTo>
                  <a:cubicBezTo>
                    <a:pt x="330" y="405"/>
                    <a:pt x="363" y="402"/>
                    <a:pt x="406" y="386"/>
                  </a:cubicBezTo>
                  <a:cubicBezTo>
                    <a:pt x="411" y="384"/>
                    <a:pt x="416" y="386"/>
                    <a:pt x="413" y="392"/>
                  </a:cubicBezTo>
                  <a:cubicBezTo>
                    <a:pt x="382" y="450"/>
                    <a:pt x="382" y="450"/>
                    <a:pt x="382" y="450"/>
                  </a:cubicBezTo>
                  <a:cubicBezTo>
                    <a:pt x="346" y="462"/>
                    <a:pt x="319" y="465"/>
                    <a:pt x="278" y="465"/>
                  </a:cubicBezTo>
                  <a:cubicBezTo>
                    <a:pt x="101" y="465"/>
                    <a:pt x="0" y="365"/>
                    <a:pt x="0" y="232"/>
                  </a:cubicBezTo>
                  <a:cubicBezTo>
                    <a:pt x="0" y="100"/>
                    <a:pt x="101" y="0"/>
                    <a:pt x="278" y="0"/>
                  </a:cubicBezTo>
                  <a:cubicBezTo>
                    <a:pt x="364" y="0"/>
                    <a:pt x="433" y="23"/>
                    <a:pt x="468" y="45"/>
                  </a:cubicBezTo>
                  <a:cubicBezTo>
                    <a:pt x="435" y="107"/>
                    <a:pt x="435" y="107"/>
                    <a:pt x="435" y="107"/>
                  </a:cubicBezTo>
                  <a:cubicBezTo>
                    <a:pt x="433" y="111"/>
                    <a:pt x="429" y="111"/>
                    <a:pt x="425" y="107"/>
                  </a:cubicBezTo>
                  <a:cubicBezTo>
                    <a:pt x="396" y="78"/>
                    <a:pt x="344" y="60"/>
                    <a:pt x="287" y="60"/>
                  </a:cubicBezTo>
                  <a:cubicBezTo>
                    <a:pt x="186" y="60"/>
                    <a:pt x="109" y="122"/>
                    <a:pt x="109" y="232"/>
                  </a:cubicBezTo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8" name="Freeform 32"/>
            <p:cNvSpPr>
              <a:spLocks/>
            </p:cNvSpPr>
            <p:nvPr userDrawn="1"/>
          </p:nvSpPr>
          <p:spPr bwMode="auto">
            <a:xfrm>
              <a:off x="-4402138" y="1504950"/>
              <a:ext cx="4359275" cy="3840163"/>
            </a:xfrm>
            <a:custGeom>
              <a:avLst/>
              <a:gdLst>
                <a:gd name="T0" fmla="*/ 242 w 529"/>
                <a:gd name="T1" fmla="*/ 407 h 465"/>
                <a:gd name="T2" fmla="*/ 64 w 529"/>
                <a:gd name="T3" fmla="*/ 291 h 465"/>
                <a:gd name="T4" fmla="*/ 51 w 529"/>
                <a:gd name="T5" fmla="*/ 291 h 465"/>
                <a:gd name="T6" fmla="*/ 0 w 529"/>
                <a:gd name="T7" fmla="*/ 390 h 465"/>
                <a:gd name="T8" fmla="*/ 240 w 529"/>
                <a:gd name="T9" fmla="*/ 465 h 465"/>
                <a:gd name="T10" fmla="*/ 529 w 529"/>
                <a:gd name="T11" fmla="*/ 233 h 465"/>
                <a:gd name="T12" fmla="*/ 252 w 529"/>
                <a:gd name="T13" fmla="*/ 0 h 465"/>
                <a:gd name="T14" fmla="*/ 174 w 529"/>
                <a:gd name="T15" fmla="*/ 7 h 465"/>
                <a:gd name="T16" fmla="*/ 146 w 529"/>
                <a:gd name="T17" fmla="*/ 63 h 465"/>
                <a:gd name="T18" fmla="*/ 154 w 529"/>
                <a:gd name="T19" fmla="*/ 74 h 465"/>
                <a:gd name="T20" fmla="*/ 254 w 529"/>
                <a:gd name="T21" fmla="*/ 59 h 465"/>
                <a:gd name="T22" fmla="*/ 419 w 529"/>
                <a:gd name="T23" fmla="*/ 233 h 465"/>
                <a:gd name="T24" fmla="*/ 242 w 529"/>
                <a:gd name="T25" fmla="*/ 40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9" h="465">
                  <a:moveTo>
                    <a:pt x="242" y="407"/>
                  </a:moveTo>
                  <a:cubicBezTo>
                    <a:pt x="144" y="407"/>
                    <a:pt x="87" y="356"/>
                    <a:pt x="64" y="291"/>
                  </a:cubicBezTo>
                  <a:cubicBezTo>
                    <a:pt x="62" y="285"/>
                    <a:pt x="54" y="286"/>
                    <a:pt x="51" y="291"/>
                  </a:cubicBezTo>
                  <a:cubicBezTo>
                    <a:pt x="0" y="390"/>
                    <a:pt x="0" y="390"/>
                    <a:pt x="0" y="390"/>
                  </a:cubicBezTo>
                  <a:cubicBezTo>
                    <a:pt x="50" y="429"/>
                    <a:pt x="133" y="465"/>
                    <a:pt x="240" y="465"/>
                  </a:cubicBezTo>
                  <a:cubicBezTo>
                    <a:pt x="434" y="465"/>
                    <a:pt x="529" y="366"/>
                    <a:pt x="529" y="233"/>
                  </a:cubicBezTo>
                  <a:cubicBezTo>
                    <a:pt x="529" y="107"/>
                    <a:pt x="443" y="0"/>
                    <a:pt x="252" y="0"/>
                  </a:cubicBezTo>
                  <a:cubicBezTo>
                    <a:pt x="224" y="0"/>
                    <a:pt x="198" y="3"/>
                    <a:pt x="174" y="7"/>
                  </a:cubicBezTo>
                  <a:cubicBezTo>
                    <a:pt x="146" y="63"/>
                    <a:pt x="146" y="63"/>
                    <a:pt x="146" y="63"/>
                  </a:cubicBezTo>
                  <a:cubicBezTo>
                    <a:pt x="143" y="72"/>
                    <a:pt x="149" y="74"/>
                    <a:pt x="154" y="74"/>
                  </a:cubicBezTo>
                  <a:cubicBezTo>
                    <a:pt x="182" y="66"/>
                    <a:pt x="207" y="59"/>
                    <a:pt x="254" y="59"/>
                  </a:cubicBezTo>
                  <a:cubicBezTo>
                    <a:pt x="347" y="59"/>
                    <a:pt x="419" y="116"/>
                    <a:pt x="419" y="233"/>
                  </a:cubicBezTo>
                  <a:cubicBezTo>
                    <a:pt x="419" y="342"/>
                    <a:pt x="350" y="407"/>
                    <a:pt x="242" y="407"/>
                  </a:cubicBezTo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19" name="Freeform 33"/>
            <p:cNvSpPr>
              <a:spLocks/>
            </p:cNvSpPr>
            <p:nvPr userDrawn="1"/>
          </p:nvSpPr>
          <p:spPr bwMode="auto">
            <a:xfrm>
              <a:off x="971550" y="6427788"/>
              <a:ext cx="798513" cy="1023938"/>
            </a:xfrm>
            <a:custGeom>
              <a:avLst/>
              <a:gdLst>
                <a:gd name="T0" fmla="*/ 503 w 503"/>
                <a:gd name="T1" fmla="*/ 104 h 645"/>
                <a:gd name="T2" fmla="*/ 119 w 503"/>
                <a:gd name="T3" fmla="*/ 104 h 645"/>
                <a:gd name="T4" fmla="*/ 119 w 503"/>
                <a:gd name="T5" fmla="*/ 281 h 645"/>
                <a:gd name="T6" fmla="*/ 456 w 503"/>
                <a:gd name="T7" fmla="*/ 281 h 645"/>
                <a:gd name="T8" fmla="*/ 456 w 503"/>
                <a:gd name="T9" fmla="*/ 379 h 645"/>
                <a:gd name="T10" fmla="*/ 119 w 503"/>
                <a:gd name="T11" fmla="*/ 379 h 645"/>
                <a:gd name="T12" fmla="*/ 119 w 503"/>
                <a:gd name="T13" fmla="*/ 645 h 645"/>
                <a:gd name="T14" fmla="*/ 0 w 503"/>
                <a:gd name="T15" fmla="*/ 645 h 645"/>
                <a:gd name="T16" fmla="*/ 0 w 503"/>
                <a:gd name="T17" fmla="*/ 0 h 645"/>
                <a:gd name="T18" fmla="*/ 503 w 503"/>
                <a:gd name="T19" fmla="*/ 0 h 645"/>
                <a:gd name="T20" fmla="*/ 503 w 503"/>
                <a:gd name="T21" fmla="*/ 104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3" h="645">
                  <a:moveTo>
                    <a:pt x="503" y="104"/>
                  </a:moveTo>
                  <a:lnTo>
                    <a:pt x="119" y="104"/>
                  </a:lnTo>
                  <a:lnTo>
                    <a:pt x="119" y="281"/>
                  </a:lnTo>
                  <a:lnTo>
                    <a:pt x="456" y="281"/>
                  </a:lnTo>
                  <a:lnTo>
                    <a:pt x="456" y="379"/>
                  </a:lnTo>
                  <a:lnTo>
                    <a:pt x="119" y="379"/>
                  </a:lnTo>
                  <a:lnTo>
                    <a:pt x="119" y="645"/>
                  </a:lnTo>
                  <a:lnTo>
                    <a:pt x="0" y="645"/>
                  </a:lnTo>
                  <a:lnTo>
                    <a:pt x="0" y="0"/>
                  </a:lnTo>
                  <a:lnTo>
                    <a:pt x="503" y="0"/>
                  </a:lnTo>
                  <a:lnTo>
                    <a:pt x="503" y="104"/>
                  </a:lnTo>
                  <a:close/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0" name="Freeform 34"/>
            <p:cNvSpPr>
              <a:spLocks noEditPoints="1"/>
            </p:cNvSpPr>
            <p:nvPr userDrawn="1"/>
          </p:nvSpPr>
          <p:spPr bwMode="auto">
            <a:xfrm>
              <a:off x="2017713" y="6410325"/>
              <a:ext cx="1112838" cy="1057275"/>
            </a:xfrm>
            <a:custGeom>
              <a:avLst/>
              <a:gdLst>
                <a:gd name="T0" fmla="*/ 68 w 135"/>
                <a:gd name="T1" fmla="*/ 128 h 128"/>
                <a:gd name="T2" fmla="*/ 0 w 135"/>
                <a:gd name="T3" fmla="*/ 64 h 128"/>
                <a:gd name="T4" fmla="*/ 68 w 135"/>
                <a:gd name="T5" fmla="*/ 0 h 128"/>
                <a:gd name="T6" fmla="*/ 135 w 135"/>
                <a:gd name="T7" fmla="*/ 64 h 128"/>
                <a:gd name="T8" fmla="*/ 68 w 135"/>
                <a:gd name="T9" fmla="*/ 128 h 128"/>
                <a:gd name="T10" fmla="*/ 68 w 135"/>
                <a:gd name="T11" fmla="*/ 20 h 128"/>
                <a:gd name="T12" fmla="*/ 24 w 135"/>
                <a:gd name="T13" fmla="*/ 64 h 128"/>
                <a:gd name="T14" fmla="*/ 68 w 135"/>
                <a:gd name="T15" fmla="*/ 108 h 128"/>
                <a:gd name="T16" fmla="*/ 112 w 135"/>
                <a:gd name="T17" fmla="*/ 64 h 128"/>
                <a:gd name="T18" fmla="*/ 68 w 135"/>
                <a:gd name="T19" fmla="*/ 2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" h="128">
                  <a:moveTo>
                    <a:pt x="68" y="128"/>
                  </a:moveTo>
                  <a:cubicBezTo>
                    <a:pt x="28" y="128"/>
                    <a:pt x="0" y="99"/>
                    <a:pt x="0" y="64"/>
                  </a:cubicBezTo>
                  <a:cubicBezTo>
                    <a:pt x="0" y="29"/>
                    <a:pt x="28" y="0"/>
                    <a:pt x="68" y="0"/>
                  </a:cubicBezTo>
                  <a:cubicBezTo>
                    <a:pt x="108" y="0"/>
                    <a:pt x="135" y="29"/>
                    <a:pt x="135" y="64"/>
                  </a:cubicBezTo>
                  <a:cubicBezTo>
                    <a:pt x="135" y="99"/>
                    <a:pt x="107" y="128"/>
                    <a:pt x="68" y="128"/>
                  </a:cubicBezTo>
                  <a:moveTo>
                    <a:pt x="68" y="20"/>
                  </a:moveTo>
                  <a:cubicBezTo>
                    <a:pt x="42" y="20"/>
                    <a:pt x="24" y="39"/>
                    <a:pt x="24" y="64"/>
                  </a:cubicBezTo>
                  <a:cubicBezTo>
                    <a:pt x="24" y="88"/>
                    <a:pt x="42" y="108"/>
                    <a:pt x="68" y="108"/>
                  </a:cubicBezTo>
                  <a:cubicBezTo>
                    <a:pt x="94" y="108"/>
                    <a:pt x="112" y="88"/>
                    <a:pt x="112" y="64"/>
                  </a:cubicBezTo>
                  <a:cubicBezTo>
                    <a:pt x="112" y="40"/>
                    <a:pt x="93" y="20"/>
                    <a:pt x="68" y="20"/>
                  </a:cubicBezTo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2" name="Freeform 35"/>
            <p:cNvSpPr>
              <a:spLocks noEditPoints="1"/>
            </p:cNvSpPr>
            <p:nvPr userDrawn="1"/>
          </p:nvSpPr>
          <p:spPr bwMode="auto">
            <a:xfrm>
              <a:off x="3459163" y="6427788"/>
              <a:ext cx="906463" cy="1023938"/>
            </a:xfrm>
            <a:custGeom>
              <a:avLst/>
              <a:gdLst>
                <a:gd name="T0" fmla="*/ 83 w 110"/>
                <a:gd name="T1" fmla="*/ 124 h 124"/>
                <a:gd name="T2" fmla="*/ 52 w 110"/>
                <a:gd name="T3" fmla="*/ 81 h 124"/>
                <a:gd name="T4" fmla="*/ 23 w 110"/>
                <a:gd name="T5" fmla="*/ 81 h 124"/>
                <a:gd name="T6" fmla="*/ 23 w 110"/>
                <a:gd name="T7" fmla="*/ 124 h 124"/>
                <a:gd name="T8" fmla="*/ 0 w 110"/>
                <a:gd name="T9" fmla="*/ 124 h 124"/>
                <a:gd name="T10" fmla="*/ 0 w 110"/>
                <a:gd name="T11" fmla="*/ 0 h 124"/>
                <a:gd name="T12" fmla="*/ 58 w 110"/>
                <a:gd name="T13" fmla="*/ 0 h 124"/>
                <a:gd name="T14" fmla="*/ 106 w 110"/>
                <a:gd name="T15" fmla="*/ 39 h 124"/>
                <a:gd name="T16" fmla="*/ 75 w 110"/>
                <a:gd name="T17" fmla="*/ 77 h 124"/>
                <a:gd name="T18" fmla="*/ 110 w 110"/>
                <a:gd name="T19" fmla="*/ 124 h 124"/>
                <a:gd name="T20" fmla="*/ 83 w 110"/>
                <a:gd name="T21" fmla="*/ 124 h 124"/>
                <a:gd name="T22" fmla="*/ 56 w 110"/>
                <a:gd name="T23" fmla="*/ 20 h 124"/>
                <a:gd name="T24" fmla="*/ 23 w 110"/>
                <a:gd name="T25" fmla="*/ 20 h 124"/>
                <a:gd name="T26" fmla="*/ 23 w 110"/>
                <a:gd name="T27" fmla="*/ 61 h 124"/>
                <a:gd name="T28" fmla="*/ 56 w 110"/>
                <a:gd name="T29" fmla="*/ 61 h 124"/>
                <a:gd name="T30" fmla="*/ 83 w 110"/>
                <a:gd name="T31" fmla="*/ 40 h 124"/>
                <a:gd name="T32" fmla="*/ 56 w 110"/>
                <a:gd name="T33" fmla="*/ 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124">
                  <a:moveTo>
                    <a:pt x="83" y="124"/>
                  </a:moveTo>
                  <a:cubicBezTo>
                    <a:pt x="52" y="81"/>
                    <a:pt x="52" y="81"/>
                    <a:pt x="52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8" y="0"/>
                    <a:pt x="106" y="15"/>
                    <a:pt x="106" y="39"/>
                  </a:cubicBezTo>
                  <a:cubicBezTo>
                    <a:pt x="106" y="60"/>
                    <a:pt x="93" y="72"/>
                    <a:pt x="75" y="77"/>
                  </a:cubicBezTo>
                  <a:cubicBezTo>
                    <a:pt x="110" y="124"/>
                    <a:pt x="110" y="124"/>
                    <a:pt x="110" y="124"/>
                  </a:cubicBezTo>
                  <a:lnTo>
                    <a:pt x="83" y="124"/>
                  </a:lnTo>
                  <a:close/>
                  <a:moveTo>
                    <a:pt x="56" y="20"/>
                  </a:moveTo>
                  <a:cubicBezTo>
                    <a:pt x="23" y="20"/>
                    <a:pt x="23" y="20"/>
                    <a:pt x="23" y="20"/>
                  </a:cubicBezTo>
                  <a:cubicBezTo>
                    <a:pt x="23" y="61"/>
                    <a:pt x="23" y="61"/>
                    <a:pt x="23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73" y="61"/>
                    <a:pt x="83" y="53"/>
                    <a:pt x="83" y="40"/>
                  </a:cubicBezTo>
                  <a:cubicBezTo>
                    <a:pt x="83" y="27"/>
                    <a:pt x="73" y="20"/>
                    <a:pt x="56" y="20"/>
                  </a:cubicBezTo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4" name="Freeform 36"/>
            <p:cNvSpPr>
              <a:spLocks/>
            </p:cNvSpPr>
            <p:nvPr userDrawn="1"/>
          </p:nvSpPr>
          <p:spPr bwMode="auto">
            <a:xfrm>
              <a:off x="5148263" y="6410325"/>
              <a:ext cx="833438" cy="1057275"/>
            </a:xfrm>
            <a:custGeom>
              <a:avLst/>
              <a:gdLst>
                <a:gd name="T0" fmla="*/ 59 w 101"/>
                <a:gd name="T1" fmla="*/ 54 h 128"/>
                <a:gd name="T2" fmla="*/ 101 w 101"/>
                <a:gd name="T3" fmla="*/ 91 h 128"/>
                <a:gd name="T4" fmla="*/ 54 w 101"/>
                <a:gd name="T5" fmla="*/ 128 h 128"/>
                <a:gd name="T6" fmla="*/ 0 w 101"/>
                <a:gd name="T7" fmla="*/ 108 h 128"/>
                <a:gd name="T8" fmla="*/ 14 w 101"/>
                <a:gd name="T9" fmla="*/ 92 h 128"/>
                <a:gd name="T10" fmla="*/ 55 w 101"/>
                <a:gd name="T11" fmla="*/ 108 h 128"/>
                <a:gd name="T12" fmla="*/ 78 w 101"/>
                <a:gd name="T13" fmla="*/ 93 h 128"/>
                <a:gd name="T14" fmla="*/ 49 w 101"/>
                <a:gd name="T15" fmla="*/ 73 h 128"/>
                <a:gd name="T16" fmla="*/ 6 w 101"/>
                <a:gd name="T17" fmla="*/ 36 h 128"/>
                <a:gd name="T18" fmla="*/ 50 w 101"/>
                <a:gd name="T19" fmla="*/ 0 h 128"/>
                <a:gd name="T20" fmla="*/ 97 w 101"/>
                <a:gd name="T21" fmla="*/ 16 h 128"/>
                <a:gd name="T22" fmla="*/ 84 w 101"/>
                <a:gd name="T23" fmla="*/ 32 h 128"/>
                <a:gd name="T24" fmla="*/ 49 w 101"/>
                <a:gd name="T25" fmla="*/ 19 h 128"/>
                <a:gd name="T26" fmla="*/ 28 w 101"/>
                <a:gd name="T27" fmla="*/ 34 h 128"/>
                <a:gd name="T28" fmla="*/ 59 w 101"/>
                <a:gd name="T29" fmla="*/ 5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28">
                  <a:moveTo>
                    <a:pt x="59" y="54"/>
                  </a:moveTo>
                  <a:cubicBezTo>
                    <a:pt x="86" y="60"/>
                    <a:pt x="101" y="70"/>
                    <a:pt x="101" y="91"/>
                  </a:cubicBezTo>
                  <a:cubicBezTo>
                    <a:pt x="101" y="114"/>
                    <a:pt x="82" y="128"/>
                    <a:pt x="54" y="128"/>
                  </a:cubicBezTo>
                  <a:cubicBezTo>
                    <a:pt x="35" y="128"/>
                    <a:pt x="16" y="121"/>
                    <a:pt x="0" y="108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26" y="103"/>
                    <a:pt x="39" y="108"/>
                    <a:pt x="55" y="108"/>
                  </a:cubicBezTo>
                  <a:cubicBezTo>
                    <a:pt x="69" y="108"/>
                    <a:pt x="78" y="102"/>
                    <a:pt x="78" y="93"/>
                  </a:cubicBezTo>
                  <a:cubicBezTo>
                    <a:pt x="78" y="84"/>
                    <a:pt x="73" y="79"/>
                    <a:pt x="49" y="73"/>
                  </a:cubicBezTo>
                  <a:cubicBezTo>
                    <a:pt x="21" y="67"/>
                    <a:pt x="6" y="59"/>
                    <a:pt x="6" y="36"/>
                  </a:cubicBezTo>
                  <a:cubicBezTo>
                    <a:pt x="6" y="15"/>
                    <a:pt x="24" y="0"/>
                    <a:pt x="50" y="0"/>
                  </a:cubicBezTo>
                  <a:cubicBezTo>
                    <a:pt x="69" y="0"/>
                    <a:pt x="84" y="6"/>
                    <a:pt x="97" y="16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73" y="24"/>
                    <a:pt x="61" y="19"/>
                    <a:pt x="49" y="19"/>
                  </a:cubicBezTo>
                  <a:cubicBezTo>
                    <a:pt x="36" y="19"/>
                    <a:pt x="28" y="26"/>
                    <a:pt x="28" y="34"/>
                  </a:cubicBezTo>
                  <a:cubicBezTo>
                    <a:pt x="28" y="44"/>
                    <a:pt x="34" y="48"/>
                    <a:pt x="59" y="54"/>
                  </a:cubicBezTo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5" name="Freeform 37"/>
            <p:cNvSpPr>
              <a:spLocks noEditPoints="1"/>
            </p:cNvSpPr>
            <p:nvPr userDrawn="1"/>
          </p:nvSpPr>
          <p:spPr bwMode="auto">
            <a:xfrm>
              <a:off x="6186488" y="6418263"/>
              <a:ext cx="1112838" cy="1033463"/>
            </a:xfrm>
            <a:custGeom>
              <a:avLst/>
              <a:gdLst>
                <a:gd name="T0" fmla="*/ 701 w 701"/>
                <a:gd name="T1" fmla="*/ 651 h 651"/>
                <a:gd name="T2" fmla="*/ 577 w 701"/>
                <a:gd name="T3" fmla="*/ 651 h 651"/>
                <a:gd name="T4" fmla="*/ 509 w 701"/>
                <a:gd name="T5" fmla="*/ 495 h 651"/>
                <a:gd name="T6" fmla="*/ 187 w 701"/>
                <a:gd name="T7" fmla="*/ 495 h 651"/>
                <a:gd name="T8" fmla="*/ 120 w 701"/>
                <a:gd name="T9" fmla="*/ 651 h 651"/>
                <a:gd name="T10" fmla="*/ 0 w 701"/>
                <a:gd name="T11" fmla="*/ 651 h 651"/>
                <a:gd name="T12" fmla="*/ 296 w 701"/>
                <a:gd name="T13" fmla="*/ 0 h 651"/>
                <a:gd name="T14" fmla="*/ 405 w 701"/>
                <a:gd name="T15" fmla="*/ 0 h 651"/>
                <a:gd name="T16" fmla="*/ 701 w 701"/>
                <a:gd name="T17" fmla="*/ 651 h 651"/>
                <a:gd name="T18" fmla="*/ 348 w 701"/>
                <a:gd name="T19" fmla="*/ 136 h 651"/>
                <a:gd name="T20" fmla="*/ 234 w 701"/>
                <a:gd name="T21" fmla="*/ 396 h 651"/>
                <a:gd name="T22" fmla="*/ 462 w 701"/>
                <a:gd name="T23" fmla="*/ 396 h 651"/>
                <a:gd name="T24" fmla="*/ 348 w 701"/>
                <a:gd name="T25" fmla="*/ 13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01" h="651">
                  <a:moveTo>
                    <a:pt x="701" y="651"/>
                  </a:moveTo>
                  <a:lnTo>
                    <a:pt x="577" y="651"/>
                  </a:lnTo>
                  <a:lnTo>
                    <a:pt x="509" y="495"/>
                  </a:lnTo>
                  <a:lnTo>
                    <a:pt x="187" y="495"/>
                  </a:lnTo>
                  <a:lnTo>
                    <a:pt x="120" y="651"/>
                  </a:lnTo>
                  <a:lnTo>
                    <a:pt x="0" y="651"/>
                  </a:lnTo>
                  <a:lnTo>
                    <a:pt x="296" y="0"/>
                  </a:lnTo>
                  <a:lnTo>
                    <a:pt x="405" y="0"/>
                  </a:lnTo>
                  <a:lnTo>
                    <a:pt x="701" y="651"/>
                  </a:lnTo>
                  <a:close/>
                  <a:moveTo>
                    <a:pt x="348" y="136"/>
                  </a:moveTo>
                  <a:lnTo>
                    <a:pt x="234" y="396"/>
                  </a:lnTo>
                  <a:lnTo>
                    <a:pt x="462" y="396"/>
                  </a:lnTo>
                  <a:lnTo>
                    <a:pt x="348" y="136"/>
                  </a:lnTo>
                  <a:close/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6" name="Freeform 38"/>
            <p:cNvSpPr>
              <a:spLocks/>
            </p:cNvSpPr>
            <p:nvPr userDrawn="1"/>
          </p:nvSpPr>
          <p:spPr bwMode="auto">
            <a:xfrm>
              <a:off x="7580313" y="6427788"/>
              <a:ext cx="798513" cy="1023938"/>
            </a:xfrm>
            <a:custGeom>
              <a:avLst/>
              <a:gdLst>
                <a:gd name="T0" fmla="*/ 503 w 503"/>
                <a:gd name="T1" fmla="*/ 104 h 645"/>
                <a:gd name="T2" fmla="*/ 119 w 503"/>
                <a:gd name="T3" fmla="*/ 104 h 645"/>
                <a:gd name="T4" fmla="*/ 119 w 503"/>
                <a:gd name="T5" fmla="*/ 281 h 645"/>
                <a:gd name="T6" fmla="*/ 456 w 503"/>
                <a:gd name="T7" fmla="*/ 281 h 645"/>
                <a:gd name="T8" fmla="*/ 456 w 503"/>
                <a:gd name="T9" fmla="*/ 379 h 645"/>
                <a:gd name="T10" fmla="*/ 119 w 503"/>
                <a:gd name="T11" fmla="*/ 379 h 645"/>
                <a:gd name="T12" fmla="*/ 119 w 503"/>
                <a:gd name="T13" fmla="*/ 645 h 645"/>
                <a:gd name="T14" fmla="*/ 0 w 503"/>
                <a:gd name="T15" fmla="*/ 645 h 645"/>
                <a:gd name="T16" fmla="*/ 0 w 503"/>
                <a:gd name="T17" fmla="*/ 0 h 645"/>
                <a:gd name="T18" fmla="*/ 503 w 503"/>
                <a:gd name="T19" fmla="*/ 0 h 645"/>
                <a:gd name="T20" fmla="*/ 503 w 503"/>
                <a:gd name="T21" fmla="*/ 104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3" h="645">
                  <a:moveTo>
                    <a:pt x="503" y="104"/>
                  </a:moveTo>
                  <a:lnTo>
                    <a:pt x="119" y="104"/>
                  </a:lnTo>
                  <a:lnTo>
                    <a:pt x="119" y="281"/>
                  </a:lnTo>
                  <a:lnTo>
                    <a:pt x="456" y="281"/>
                  </a:lnTo>
                  <a:lnTo>
                    <a:pt x="456" y="379"/>
                  </a:lnTo>
                  <a:lnTo>
                    <a:pt x="119" y="379"/>
                  </a:lnTo>
                  <a:lnTo>
                    <a:pt x="119" y="645"/>
                  </a:lnTo>
                  <a:lnTo>
                    <a:pt x="0" y="645"/>
                  </a:lnTo>
                  <a:lnTo>
                    <a:pt x="0" y="0"/>
                  </a:lnTo>
                  <a:lnTo>
                    <a:pt x="503" y="0"/>
                  </a:lnTo>
                  <a:lnTo>
                    <a:pt x="503" y="104"/>
                  </a:lnTo>
                  <a:close/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7" name="Freeform 39"/>
            <p:cNvSpPr>
              <a:spLocks/>
            </p:cNvSpPr>
            <p:nvPr userDrawn="1"/>
          </p:nvSpPr>
          <p:spPr bwMode="auto">
            <a:xfrm>
              <a:off x="8683625" y="6427788"/>
              <a:ext cx="800100" cy="1023938"/>
            </a:xfrm>
            <a:custGeom>
              <a:avLst/>
              <a:gdLst>
                <a:gd name="T0" fmla="*/ 498 w 504"/>
                <a:gd name="T1" fmla="*/ 99 h 645"/>
                <a:gd name="T2" fmla="*/ 120 w 504"/>
                <a:gd name="T3" fmla="*/ 99 h 645"/>
                <a:gd name="T4" fmla="*/ 120 w 504"/>
                <a:gd name="T5" fmla="*/ 270 h 645"/>
                <a:gd name="T6" fmla="*/ 452 w 504"/>
                <a:gd name="T7" fmla="*/ 270 h 645"/>
                <a:gd name="T8" fmla="*/ 452 w 504"/>
                <a:gd name="T9" fmla="*/ 369 h 645"/>
                <a:gd name="T10" fmla="*/ 120 w 504"/>
                <a:gd name="T11" fmla="*/ 369 h 645"/>
                <a:gd name="T12" fmla="*/ 120 w 504"/>
                <a:gd name="T13" fmla="*/ 541 h 645"/>
                <a:gd name="T14" fmla="*/ 504 w 504"/>
                <a:gd name="T15" fmla="*/ 541 h 645"/>
                <a:gd name="T16" fmla="*/ 504 w 504"/>
                <a:gd name="T17" fmla="*/ 645 h 645"/>
                <a:gd name="T18" fmla="*/ 0 w 504"/>
                <a:gd name="T19" fmla="*/ 645 h 645"/>
                <a:gd name="T20" fmla="*/ 0 w 504"/>
                <a:gd name="T21" fmla="*/ 0 h 645"/>
                <a:gd name="T22" fmla="*/ 498 w 504"/>
                <a:gd name="T23" fmla="*/ 0 h 645"/>
                <a:gd name="T24" fmla="*/ 498 w 504"/>
                <a:gd name="T25" fmla="*/ 9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4" h="645">
                  <a:moveTo>
                    <a:pt x="498" y="99"/>
                  </a:moveTo>
                  <a:lnTo>
                    <a:pt x="120" y="99"/>
                  </a:lnTo>
                  <a:lnTo>
                    <a:pt x="120" y="270"/>
                  </a:lnTo>
                  <a:lnTo>
                    <a:pt x="452" y="270"/>
                  </a:lnTo>
                  <a:lnTo>
                    <a:pt x="452" y="369"/>
                  </a:lnTo>
                  <a:lnTo>
                    <a:pt x="120" y="369"/>
                  </a:lnTo>
                  <a:lnTo>
                    <a:pt x="120" y="541"/>
                  </a:lnTo>
                  <a:lnTo>
                    <a:pt x="504" y="541"/>
                  </a:lnTo>
                  <a:lnTo>
                    <a:pt x="504" y="645"/>
                  </a:lnTo>
                  <a:lnTo>
                    <a:pt x="0" y="645"/>
                  </a:lnTo>
                  <a:lnTo>
                    <a:pt x="0" y="0"/>
                  </a:lnTo>
                  <a:lnTo>
                    <a:pt x="498" y="0"/>
                  </a:lnTo>
                  <a:lnTo>
                    <a:pt x="498" y="99"/>
                  </a:lnTo>
                  <a:close/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8" name="Freeform 40"/>
            <p:cNvSpPr>
              <a:spLocks noEditPoints="1"/>
            </p:cNvSpPr>
            <p:nvPr userDrawn="1"/>
          </p:nvSpPr>
          <p:spPr bwMode="auto">
            <a:xfrm>
              <a:off x="9804400" y="6427788"/>
              <a:ext cx="906463" cy="1023938"/>
            </a:xfrm>
            <a:custGeom>
              <a:avLst/>
              <a:gdLst>
                <a:gd name="T0" fmla="*/ 83 w 110"/>
                <a:gd name="T1" fmla="*/ 124 h 124"/>
                <a:gd name="T2" fmla="*/ 51 w 110"/>
                <a:gd name="T3" fmla="*/ 81 h 124"/>
                <a:gd name="T4" fmla="*/ 23 w 110"/>
                <a:gd name="T5" fmla="*/ 81 h 124"/>
                <a:gd name="T6" fmla="*/ 23 w 110"/>
                <a:gd name="T7" fmla="*/ 124 h 124"/>
                <a:gd name="T8" fmla="*/ 0 w 110"/>
                <a:gd name="T9" fmla="*/ 124 h 124"/>
                <a:gd name="T10" fmla="*/ 0 w 110"/>
                <a:gd name="T11" fmla="*/ 0 h 124"/>
                <a:gd name="T12" fmla="*/ 58 w 110"/>
                <a:gd name="T13" fmla="*/ 0 h 124"/>
                <a:gd name="T14" fmla="*/ 106 w 110"/>
                <a:gd name="T15" fmla="*/ 39 h 124"/>
                <a:gd name="T16" fmla="*/ 75 w 110"/>
                <a:gd name="T17" fmla="*/ 77 h 124"/>
                <a:gd name="T18" fmla="*/ 110 w 110"/>
                <a:gd name="T19" fmla="*/ 124 h 124"/>
                <a:gd name="T20" fmla="*/ 83 w 110"/>
                <a:gd name="T21" fmla="*/ 124 h 124"/>
                <a:gd name="T22" fmla="*/ 56 w 110"/>
                <a:gd name="T23" fmla="*/ 20 h 124"/>
                <a:gd name="T24" fmla="*/ 23 w 110"/>
                <a:gd name="T25" fmla="*/ 20 h 124"/>
                <a:gd name="T26" fmla="*/ 23 w 110"/>
                <a:gd name="T27" fmla="*/ 61 h 124"/>
                <a:gd name="T28" fmla="*/ 56 w 110"/>
                <a:gd name="T29" fmla="*/ 61 h 124"/>
                <a:gd name="T30" fmla="*/ 83 w 110"/>
                <a:gd name="T31" fmla="*/ 40 h 124"/>
                <a:gd name="T32" fmla="*/ 56 w 110"/>
                <a:gd name="T33" fmla="*/ 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124">
                  <a:moveTo>
                    <a:pt x="83" y="124"/>
                  </a:moveTo>
                  <a:cubicBezTo>
                    <a:pt x="51" y="81"/>
                    <a:pt x="51" y="81"/>
                    <a:pt x="51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87" y="0"/>
                    <a:pt x="106" y="15"/>
                    <a:pt x="106" y="39"/>
                  </a:cubicBezTo>
                  <a:cubicBezTo>
                    <a:pt x="106" y="60"/>
                    <a:pt x="93" y="72"/>
                    <a:pt x="75" y="77"/>
                  </a:cubicBezTo>
                  <a:cubicBezTo>
                    <a:pt x="110" y="124"/>
                    <a:pt x="110" y="124"/>
                    <a:pt x="110" y="124"/>
                  </a:cubicBezTo>
                  <a:lnTo>
                    <a:pt x="83" y="124"/>
                  </a:lnTo>
                  <a:close/>
                  <a:moveTo>
                    <a:pt x="56" y="20"/>
                  </a:moveTo>
                  <a:cubicBezTo>
                    <a:pt x="23" y="20"/>
                    <a:pt x="23" y="20"/>
                    <a:pt x="23" y="20"/>
                  </a:cubicBezTo>
                  <a:cubicBezTo>
                    <a:pt x="23" y="61"/>
                    <a:pt x="23" y="61"/>
                    <a:pt x="23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72" y="61"/>
                    <a:pt x="83" y="53"/>
                    <a:pt x="83" y="40"/>
                  </a:cubicBezTo>
                  <a:cubicBezTo>
                    <a:pt x="83" y="27"/>
                    <a:pt x="73" y="20"/>
                    <a:pt x="56" y="20"/>
                  </a:cubicBezTo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29" name="Freeform 41"/>
            <p:cNvSpPr>
              <a:spLocks/>
            </p:cNvSpPr>
            <p:nvPr userDrawn="1"/>
          </p:nvSpPr>
          <p:spPr bwMode="auto">
            <a:xfrm>
              <a:off x="11485563" y="6427788"/>
              <a:ext cx="865188" cy="1023938"/>
            </a:xfrm>
            <a:custGeom>
              <a:avLst/>
              <a:gdLst>
                <a:gd name="T0" fmla="*/ 332 w 545"/>
                <a:gd name="T1" fmla="*/ 645 h 645"/>
                <a:gd name="T2" fmla="*/ 213 w 545"/>
                <a:gd name="T3" fmla="*/ 645 h 645"/>
                <a:gd name="T4" fmla="*/ 213 w 545"/>
                <a:gd name="T5" fmla="*/ 104 h 645"/>
                <a:gd name="T6" fmla="*/ 0 w 545"/>
                <a:gd name="T7" fmla="*/ 104 h 645"/>
                <a:gd name="T8" fmla="*/ 0 w 545"/>
                <a:gd name="T9" fmla="*/ 0 h 645"/>
                <a:gd name="T10" fmla="*/ 545 w 545"/>
                <a:gd name="T11" fmla="*/ 0 h 645"/>
                <a:gd name="T12" fmla="*/ 545 w 545"/>
                <a:gd name="T13" fmla="*/ 104 h 645"/>
                <a:gd name="T14" fmla="*/ 332 w 545"/>
                <a:gd name="T15" fmla="*/ 104 h 645"/>
                <a:gd name="T16" fmla="*/ 332 w 545"/>
                <a:gd name="T17" fmla="*/ 645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5" h="645">
                  <a:moveTo>
                    <a:pt x="332" y="645"/>
                  </a:moveTo>
                  <a:lnTo>
                    <a:pt x="213" y="645"/>
                  </a:lnTo>
                  <a:lnTo>
                    <a:pt x="213" y="104"/>
                  </a:lnTo>
                  <a:lnTo>
                    <a:pt x="0" y="104"/>
                  </a:lnTo>
                  <a:lnTo>
                    <a:pt x="0" y="0"/>
                  </a:lnTo>
                  <a:lnTo>
                    <a:pt x="545" y="0"/>
                  </a:lnTo>
                  <a:lnTo>
                    <a:pt x="545" y="104"/>
                  </a:lnTo>
                  <a:lnTo>
                    <a:pt x="332" y="104"/>
                  </a:lnTo>
                  <a:lnTo>
                    <a:pt x="332" y="645"/>
                  </a:lnTo>
                  <a:close/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30" name="Freeform 42"/>
            <p:cNvSpPr>
              <a:spLocks noEditPoints="1"/>
            </p:cNvSpPr>
            <p:nvPr userDrawn="1"/>
          </p:nvSpPr>
          <p:spPr bwMode="auto">
            <a:xfrm>
              <a:off x="12655550" y="6427788"/>
              <a:ext cx="906463" cy="1023938"/>
            </a:xfrm>
            <a:custGeom>
              <a:avLst/>
              <a:gdLst>
                <a:gd name="T0" fmla="*/ 83 w 110"/>
                <a:gd name="T1" fmla="*/ 124 h 124"/>
                <a:gd name="T2" fmla="*/ 51 w 110"/>
                <a:gd name="T3" fmla="*/ 81 h 124"/>
                <a:gd name="T4" fmla="*/ 23 w 110"/>
                <a:gd name="T5" fmla="*/ 81 h 124"/>
                <a:gd name="T6" fmla="*/ 23 w 110"/>
                <a:gd name="T7" fmla="*/ 124 h 124"/>
                <a:gd name="T8" fmla="*/ 0 w 110"/>
                <a:gd name="T9" fmla="*/ 124 h 124"/>
                <a:gd name="T10" fmla="*/ 0 w 110"/>
                <a:gd name="T11" fmla="*/ 0 h 124"/>
                <a:gd name="T12" fmla="*/ 57 w 110"/>
                <a:gd name="T13" fmla="*/ 0 h 124"/>
                <a:gd name="T14" fmla="*/ 105 w 110"/>
                <a:gd name="T15" fmla="*/ 39 h 124"/>
                <a:gd name="T16" fmla="*/ 75 w 110"/>
                <a:gd name="T17" fmla="*/ 77 h 124"/>
                <a:gd name="T18" fmla="*/ 110 w 110"/>
                <a:gd name="T19" fmla="*/ 124 h 124"/>
                <a:gd name="T20" fmla="*/ 83 w 110"/>
                <a:gd name="T21" fmla="*/ 124 h 124"/>
                <a:gd name="T22" fmla="*/ 56 w 110"/>
                <a:gd name="T23" fmla="*/ 20 h 124"/>
                <a:gd name="T24" fmla="*/ 23 w 110"/>
                <a:gd name="T25" fmla="*/ 20 h 124"/>
                <a:gd name="T26" fmla="*/ 23 w 110"/>
                <a:gd name="T27" fmla="*/ 61 h 124"/>
                <a:gd name="T28" fmla="*/ 56 w 110"/>
                <a:gd name="T29" fmla="*/ 61 h 124"/>
                <a:gd name="T30" fmla="*/ 82 w 110"/>
                <a:gd name="T31" fmla="*/ 40 h 124"/>
                <a:gd name="T32" fmla="*/ 56 w 110"/>
                <a:gd name="T33" fmla="*/ 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0" h="124">
                  <a:moveTo>
                    <a:pt x="83" y="124"/>
                  </a:moveTo>
                  <a:cubicBezTo>
                    <a:pt x="51" y="81"/>
                    <a:pt x="51" y="81"/>
                    <a:pt x="51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87" y="0"/>
                    <a:pt x="105" y="15"/>
                    <a:pt x="105" y="39"/>
                  </a:cubicBezTo>
                  <a:cubicBezTo>
                    <a:pt x="105" y="60"/>
                    <a:pt x="93" y="72"/>
                    <a:pt x="75" y="77"/>
                  </a:cubicBezTo>
                  <a:cubicBezTo>
                    <a:pt x="110" y="124"/>
                    <a:pt x="110" y="124"/>
                    <a:pt x="110" y="124"/>
                  </a:cubicBezTo>
                  <a:lnTo>
                    <a:pt x="83" y="124"/>
                  </a:lnTo>
                  <a:close/>
                  <a:moveTo>
                    <a:pt x="56" y="20"/>
                  </a:moveTo>
                  <a:cubicBezTo>
                    <a:pt x="23" y="20"/>
                    <a:pt x="23" y="20"/>
                    <a:pt x="23" y="20"/>
                  </a:cubicBezTo>
                  <a:cubicBezTo>
                    <a:pt x="23" y="61"/>
                    <a:pt x="23" y="61"/>
                    <a:pt x="23" y="61"/>
                  </a:cubicBezTo>
                  <a:cubicBezTo>
                    <a:pt x="56" y="61"/>
                    <a:pt x="56" y="61"/>
                    <a:pt x="56" y="61"/>
                  </a:cubicBezTo>
                  <a:cubicBezTo>
                    <a:pt x="72" y="61"/>
                    <a:pt x="82" y="53"/>
                    <a:pt x="82" y="40"/>
                  </a:cubicBezTo>
                  <a:cubicBezTo>
                    <a:pt x="82" y="27"/>
                    <a:pt x="72" y="20"/>
                    <a:pt x="56" y="20"/>
                  </a:cubicBezTo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31" name="Freeform 43"/>
            <p:cNvSpPr>
              <a:spLocks noEditPoints="1"/>
            </p:cNvSpPr>
            <p:nvPr userDrawn="1"/>
          </p:nvSpPr>
          <p:spPr bwMode="auto">
            <a:xfrm>
              <a:off x="13768388" y="6418263"/>
              <a:ext cx="1103313" cy="1033463"/>
            </a:xfrm>
            <a:custGeom>
              <a:avLst/>
              <a:gdLst>
                <a:gd name="T0" fmla="*/ 695 w 695"/>
                <a:gd name="T1" fmla="*/ 651 h 651"/>
                <a:gd name="T2" fmla="*/ 571 w 695"/>
                <a:gd name="T3" fmla="*/ 651 h 651"/>
                <a:gd name="T4" fmla="*/ 503 w 695"/>
                <a:gd name="T5" fmla="*/ 495 h 651"/>
                <a:gd name="T6" fmla="*/ 187 w 695"/>
                <a:gd name="T7" fmla="*/ 495 h 651"/>
                <a:gd name="T8" fmla="*/ 119 w 695"/>
                <a:gd name="T9" fmla="*/ 651 h 651"/>
                <a:gd name="T10" fmla="*/ 0 w 695"/>
                <a:gd name="T11" fmla="*/ 651 h 651"/>
                <a:gd name="T12" fmla="*/ 296 w 695"/>
                <a:gd name="T13" fmla="*/ 0 h 651"/>
                <a:gd name="T14" fmla="*/ 405 w 695"/>
                <a:gd name="T15" fmla="*/ 0 h 651"/>
                <a:gd name="T16" fmla="*/ 695 w 695"/>
                <a:gd name="T17" fmla="*/ 651 h 651"/>
                <a:gd name="T18" fmla="*/ 348 w 695"/>
                <a:gd name="T19" fmla="*/ 136 h 651"/>
                <a:gd name="T20" fmla="*/ 234 w 695"/>
                <a:gd name="T21" fmla="*/ 396 h 651"/>
                <a:gd name="T22" fmla="*/ 462 w 695"/>
                <a:gd name="T23" fmla="*/ 396 h 651"/>
                <a:gd name="T24" fmla="*/ 348 w 695"/>
                <a:gd name="T25" fmla="*/ 136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5" h="651">
                  <a:moveTo>
                    <a:pt x="695" y="651"/>
                  </a:moveTo>
                  <a:lnTo>
                    <a:pt x="571" y="651"/>
                  </a:lnTo>
                  <a:lnTo>
                    <a:pt x="503" y="495"/>
                  </a:lnTo>
                  <a:lnTo>
                    <a:pt x="187" y="495"/>
                  </a:lnTo>
                  <a:lnTo>
                    <a:pt x="119" y="651"/>
                  </a:lnTo>
                  <a:lnTo>
                    <a:pt x="0" y="651"/>
                  </a:lnTo>
                  <a:lnTo>
                    <a:pt x="296" y="0"/>
                  </a:lnTo>
                  <a:lnTo>
                    <a:pt x="405" y="0"/>
                  </a:lnTo>
                  <a:lnTo>
                    <a:pt x="695" y="651"/>
                  </a:lnTo>
                  <a:close/>
                  <a:moveTo>
                    <a:pt x="348" y="136"/>
                  </a:moveTo>
                  <a:lnTo>
                    <a:pt x="234" y="396"/>
                  </a:lnTo>
                  <a:lnTo>
                    <a:pt x="462" y="396"/>
                  </a:lnTo>
                  <a:lnTo>
                    <a:pt x="348" y="136"/>
                  </a:lnTo>
                  <a:close/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32" name="Freeform 44"/>
            <p:cNvSpPr>
              <a:spLocks noEditPoints="1"/>
            </p:cNvSpPr>
            <p:nvPr userDrawn="1"/>
          </p:nvSpPr>
          <p:spPr bwMode="auto">
            <a:xfrm>
              <a:off x="15160625" y="6427788"/>
              <a:ext cx="963613" cy="1023938"/>
            </a:xfrm>
            <a:custGeom>
              <a:avLst/>
              <a:gdLst>
                <a:gd name="T0" fmla="*/ 48 w 117"/>
                <a:gd name="T1" fmla="*/ 124 h 124"/>
                <a:gd name="T2" fmla="*/ 0 w 117"/>
                <a:gd name="T3" fmla="*/ 124 h 124"/>
                <a:gd name="T4" fmla="*/ 0 w 117"/>
                <a:gd name="T5" fmla="*/ 0 h 124"/>
                <a:gd name="T6" fmla="*/ 48 w 117"/>
                <a:gd name="T7" fmla="*/ 0 h 124"/>
                <a:gd name="T8" fmla="*/ 117 w 117"/>
                <a:gd name="T9" fmla="*/ 62 h 124"/>
                <a:gd name="T10" fmla="*/ 48 w 117"/>
                <a:gd name="T11" fmla="*/ 124 h 124"/>
                <a:gd name="T12" fmla="*/ 48 w 117"/>
                <a:gd name="T13" fmla="*/ 20 h 124"/>
                <a:gd name="T14" fmla="*/ 23 w 117"/>
                <a:gd name="T15" fmla="*/ 20 h 124"/>
                <a:gd name="T16" fmla="*/ 23 w 117"/>
                <a:gd name="T17" fmla="*/ 104 h 124"/>
                <a:gd name="T18" fmla="*/ 48 w 117"/>
                <a:gd name="T19" fmla="*/ 104 h 124"/>
                <a:gd name="T20" fmla="*/ 93 w 117"/>
                <a:gd name="T21" fmla="*/ 62 h 124"/>
                <a:gd name="T22" fmla="*/ 48 w 117"/>
                <a:gd name="T23" fmla="*/ 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7" h="124">
                  <a:moveTo>
                    <a:pt x="48" y="124"/>
                  </a:moveTo>
                  <a:cubicBezTo>
                    <a:pt x="0" y="124"/>
                    <a:pt x="0" y="124"/>
                    <a:pt x="0" y="1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89" y="0"/>
                    <a:pt x="117" y="27"/>
                    <a:pt x="117" y="62"/>
                  </a:cubicBezTo>
                  <a:cubicBezTo>
                    <a:pt x="117" y="97"/>
                    <a:pt x="89" y="124"/>
                    <a:pt x="48" y="124"/>
                  </a:cubicBezTo>
                  <a:moveTo>
                    <a:pt x="48" y="20"/>
                  </a:moveTo>
                  <a:cubicBezTo>
                    <a:pt x="23" y="20"/>
                    <a:pt x="23" y="20"/>
                    <a:pt x="23" y="20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75" y="104"/>
                    <a:pt x="93" y="87"/>
                    <a:pt x="93" y="62"/>
                  </a:cubicBezTo>
                  <a:cubicBezTo>
                    <a:pt x="93" y="38"/>
                    <a:pt x="75" y="20"/>
                    <a:pt x="48" y="20"/>
                  </a:cubicBezTo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33" name="Freeform 45"/>
            <p:cNvSpPr>
              <a:spLocks/>
            </p:cNvSpPr>
            <p:nvPr userDrawn="1"/>
          </p:nvSpPr>
          <p:spPr bwMode="auto">
            <a:xfrm>
              <a:off x="16454438" y="6427788"/>
              <a:ext cx="800100" cy="1023938"/>
            </a:xfrm>
            <a:custGeom>
              <a:avLst/>
              <a:gdLst>
                <a:gd name="T0" fmla="*/ 498 w 504"/>
                <a:gd name="T1" fmla="*/ 99 h 645"/>
                <a:gd name="T2" fmla="*/ 119 w 504"/>
                <a:gd name="T3" fmla="*/ 99 h 645"/>
                <a:gd name="T4" fmla="*/ 119 w 504"/>
                <a:gd name="T5" fmla="*/ 270 h 645"/>
                <a:gd name="T6" fmla="*/ 452 w 504"/>
                <a:gd name="T7" fmla="*/ 270 h 645"/>
                <a:gd name="T8" fmla="*/ 452 w 504"/>
                <a:gd name="T9" fmla="*/ 369 h 645"/>
                <a:gd name="T10" fmla="*/ 119 w 504"/>
                <a:gd name="T11" fmla="*/ 369 h 645"/>
                <a:gd name="T12" fmla="*/ 119 w 504"/>
                <a:gd name="T13" fmla="*/ 541 h 645"/>
                <a:gd name="T14" fmla="*/ 504 w 504"/>
                <a:gd name="T15" fmla="*/ 541 h 645"/>
                <a:gd name="T16" fmla="*/ 504 w 504"/>
                <a:gd name="T17" fmla="*/ 645 h 645"/>
                <a:gd name="T18" fmla="*/ 0 w 504"/>
                <a:gd name="T19" fmla="*/ 645 h 645"/>
                <a:gd name="T20" fmla="*/ 0 w 504"/>
                <a:gd name="T21" fmla="*/ 0 h 645"/>
                <a:gd name="T22" fmla="*/ 498 w 504"/>
                <a:gd name="T23" fmla="*/ 0 h 645"/>
                <a:gd name="T24" fmla="*/ 498 w 504"/>
                <a:gd name="T25" fmla="*/ 99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4" h="645">
                  <a:moveTo>
                    <a:pt x="498" y="99"/>
                  </a:moveTo>
                  <a:lnTo>
                    <a:pt x="119" y="99"/>
                  </a:lnTo>
                  <a:lnTo>
                    <a:pt x="119" y="270"/>
                  </a:lnTo>
                  <a:lnTo>
                    <a:pt x="452" y="270"/>
                  </a:lnTo>
                  <a:lnTo>
                    <a:pt x="452" y="369"/>
                  </a:lnTo>
                  <a:lnTo>
                    <a:pt x="119" y="369"/>
                  </a:lnTo>
                  <a:lnTo>
                    <a:pt x="119" y="541"/>
                  </a:lnTo>
                  <a:lnTo>
                    <a:pt x="504" y="541"/>
                  </a:lnTo>
                  <a:lnTo>
                    <a:pt x="504" y="645"/>
                  </a:lnTo>
                  <a:lnTo>
                    <a:pt x="0" y="645"/>
                  </a:lnTo>
                  <a:lnTo>
                    <a:pt x="0" y="0"/>
                  </a:lnTo>
                  <a:lnTo>
                    <a:pt x="498" y="0"/>
                  </a:lnTo>
                  <a:lnTo>
                    <a:pt x="498" y="99"/>
                  </a:lnTo>
                  <a:close/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45834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orme libre : forme 32"/>
          <p:cNvSpPr>
            <a:spLocks/>
          </p:cNvSpPr>
          <p:nvPr userDrawn="1"/>
        </p:nvSpPr>
        <p:spPr bwMode="auto">
          <a:xfrm>
            <a:off x="6089601" y="0"/>
            <a:ext cx="3089558" cy="6858000"/>
          </a:xfrm>
          <a:custGeom>
            <a:avLst/>
            <a:gdLst>
              <a:gd name="connsiteX0" fmla="*/ 3050999 w 3089558"/>
              <a:gd name="connsiteY0" fmla="*/ 0 h 6858000"/>
              <a:gd name="connsiteX1" fmla="*/ 3089558 w 3089558"/>
              <a:gd name="connsiteY1" fmla="*/ 0 h 6858000"/>
              <a:gd name="connsiteX2" fmla="*/ 3089558 w 3089558"/>
              <a:gd name="connsiteY2" fmla="*/ 6858000 h 6858000"/>
              <a:gd name="connsiteX3" fmla="*/ 0 w 3089558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9558" h="6858000">
                <a:moveTo>
                  <a:pt x="3050999" y="0"/>
                </a:moveTo>
                <a:lnTo>
                  <a:pt x="3089558" y="0"/>
                </a:lnTo>
                <a:lnTo>
                  <a:pt x="30895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25" name="Forme libre : forme 24"/>
          <p:cNvSpPr>
            <a:spLocks/>
          </p:cNvSpPr>
          <p:nvPr userDrawn="1"/>
        </p:nvSpPr>
        <p:spPr bwMode="auto">
          <a:xfrm>
            <a:off x="0" y="0"/>
            <a:ext cx="5576454" cy="6858000"/>
          </a:xfrm>
          <a:custGeom>
            <a:avLst/>
            <a:gdLst>
              <a:gd name="connsiteX0" fmla="*/ 0 w 5576454"/>
              <a:gd name="connsiteY0" fmla="*/ 0 h 6858000"/>
              <a:gd name="connsiteX1" fmla="*/ 5576454 w 5576454"/>
              <a:gd name="connsiteY1" fmla="*/ 0 h 6858000"/>
              <a:gd name="connsiteX2" fmla="*/ 2525454 w 5576454"/>
              <a:gd name="connsiteY2" fmla="*/ 6858000 h 6858000"/>
              <a:gd name="connsiteX3" fmla="*/ 0 w 557645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76454" h="6858000">
                <a:moveTo>
                  <a:pt x="0" y="0"/>
                </a:moveTo>
                <a:lnTo>
                  <a:pt x="5576454" y="0"/>
                </a:lnTo>
                <a:lnTo>
                  <a:pt x="25254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67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23" name="Forme libre : forme 22"/>
          <p:cNvSpPr>
            <a:spLocks/>
          </p:cNvSpPr>
          <p:nvPr userDrawn="1"/>
        </p:nvSpPr>
        <p:spPr bwMode="auto">
          <a:xfrm>
            <a:off x="0" y="0"/>
            <a:ext cx="6389254" cy="6858000"/>
          </a:xfrm>
          <a:custGeom>
            <a:avLst/>
            <a:gdLst>
              <a:gd name="connsiteX0" fmla="*/ 0 w 6389254"/>
              <a:gd name="connsiteY0" fmla="*/ 0 h 6858000"/>
              <a:gd name="connsiteX1" fmla="*/ 6389254 w 6389254"/>
              <a:gd name="connsiteY1" fmla="*/ 0 h 6858000"/>
              <a:gd name="connsiteX2" fmla="*/ 3338254 w 6389254"/>
              <a:gd name="connsiteY2" fmla="*/ 6858000 h 6858000"/>
              <a:gd name="connsiteX3" fmla="*/ 0 w 638925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89254" h="6858000">
                <a:moveTo>
                  <a:pt x="0" y="0"/>
                </a:moveTo>
                <a:lnTo>
                  <a:pt x="6389254" y="0"/>
                </a:lnTo>
                <a:lnTo>
                  <a:pt x="33382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21" name="Forme libre : forme 20"/>
          <p:cNvSpPr>
            <a:spLocks/>
          </p:cNvSpPr>
          <p:nvPr userDrawn="1"/>
        </p:nvSpPr>
        <p:spPr bwMode="auto">
          <a:xfrm>
            <a:off x="0" y="0"/>
            <a:ext cx="6084454" cy="6858000"/>
          </a:xfrm>
          <a:custGeom>
            <a:avLst/>
            <a:gdLst>
              <a:gd name="connsiteX0" fmla="*/ 0 w 6084454"/>
              <a:gd name="connsiteY0" fmla="*/ 0 h 6858000"/>
              <a:gd name="connsiteX1" fmla="*/ 6084454 w 6084454"/>
              <a:gd name="connsiteY1" fmla="*/ 0 h 6858000"/>
              <a:gd name="connsiteX2" fmla="*/ 3033454 w 6084454"/>
              <a:gd name="connsiteY2" fmla="*/ 6858000 h 6858000"/>
              <a:gd name="connsiteX3" fmla="*/ 0 w 608445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84454" h="6858000">
                <a:moveTo>
                  <a:pt x="0" y="0"/>
                </a:moveTo>
                <a:lnTo>
                  <a:pt x="6084454" y="0"/>
                </a:lnTo>
                <a:lnTo>
                  <a:pt x="303345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30" name="Forme libre : forme 29"/>
          <p:cNvSpPr>
            <a:spLocks/>
          </p:cNvSpPr>
          <p:nvPr userDrawn="1"/>
        </p:nvSpPr>
        <p:spPr bwMode="auto">
          <a:xfrm>
            <a:off x="5886401" y="0"/>
            <a:ext cx="3292759" cy="6858000"/>
          </a:xfrm>
          <a:custGeom>
            <a:avLst/>
            <a:gdLst>
              <a:gd name="connsiteX0" fmla="*/ 3051000 w 3292759"/>
              <a:gd name="connsiteY0" fmla="*/ 0 h 6858000"/>
              <a:gd name="connsiteX1" fmla="*/ 3292759 w 3292759"/>
              <a:gd name="connsiteY1" fmla="*/ 0 h 6858000"/>
              <a:gd name="connsiteX2" fmla="*/ 3292759 w 3292759"/>
              <a:gd name="connsiteY2" fmla="*/ 6858000 h 6858000"/>
              <a:gd name="connsiteX3" fmla="*/ 0 w 329275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92759" h="6858000">
                <a:moveTo>
                  <a:pt x="3051000" y="0"/>
                </a:moveTo>
                <a:lnTo>
                  <a:pt x="3292759" y="0"/>
                </a:lnTo>
                <a:lnTo>
                  <a:pt x="329275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27" name="Forme libre : forme 26"/>
          <p:cNvSpPr>
            <a:spLocks/>
          </p:cNvSpPr>
          <p:nvPr userDrawn="1"/>
        </p:nvSpPr>
        <p:spPr bwMode="auto">
          <a:xfrm>
            <a:off x="7156402" y="2390298"/>
            <a:ext cx="1987599" cy="4467702"/>
          </a:xfrm>
          <a:custGeom>
            <a:avLst/>
            <a:gdLst>
              <a:gd name="connsiteX0" fmla="*/ 1987599 w 1987599"/>
              <a:gd name="connsiteY0" fmla="*/ 0 h 4467702"/>
              <a:gd name="connsiteX1" fmla="*/ 1987599 w 1987599"/>
              <a:gd name="connsiteY1" fmla="*/ 4467702 h 4467702"/>
              <a:gd name="connsiteX2" fmla="*/ 0 w 1987599"/>
              <a:gd name="connsiteY2" fmla="*/ 4467702 h 4467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87599" h="4467702">
                <a:moveTo>
                  <a:pt x="1987599" y="0"/>
                </a:moveTo>
                <a:lnTo>
                  <a:pt x="1987599" y="4467702"/>
                </a:lnTo>
                <a:lnTo>
                  <a:pt x="0" y="4467702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cxnSp>
        <p:nvCxnSpPr>
          <p:cNvPr id="46" name="Connecteur droit 45"/>
          <p:cNvCxnSpPr>
            <a:cxnSpLocks/>
          </p:cNvCxnSpPr>
          <p:nvPr userDrawn="1"/>
        </p:nvCxnSpPr>
        <p:spPr>
          <a:xfrm rot="1440000">
            <a:off x="4577633" y="2112937"/>
            <a:ext cx="0" cy="243960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eur droit 68"/>
          <p:cNvCxnSpPr>
            <a:cxnSpLocks/>
          </p:cNvCxnSpPr>
          <p:nvPr userDrawn="1"/>
        </p:nvCxnSpPr>
        <p:spPr>
          <a:xfrm rot="1440000">
            <a:off x="6781082" y="4132237"/>
            <a:ext cx="0" cy="243960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eur droit 69"/>
          <p:cNvCxnSpPr>
            <a:cxnSpLocks/>
          </p:cNvCxnSpPr>
          <p:nvPr userDrawn="1"/>
        </p:nvCxnSpPr>
        <p:spPr>
          <a:xfrm rot="1440000">
            <a:off x="9238534" y="1008038"/>
            <a:ext cx="0" cy="2439607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9" name="Groupe 98"/>
          <p:cNvGrpSpPr/>
          <p:nvPr userDrawn="1"/>
        </p:nvGrpSpPr>
        <p:grpSpPr>
          <a:xfrm>
            <a:off x="509975" y="447675"/>
            <a:ext cx="2558105" cy="597238"/>
            <a:chOff x="509975" y="447675"/>
            <a:chExt cx="2558105" cy="597238"/>
          </a:xfrm>
        </p:grpSpPr>
        <p:sp>
          <p:nvSpPr>
            <p:cNvPr id="49" name="Freeform 27"/>
            <p:cNvSpPr>
              <a:spLocks/>
            </p:cNvSpPr>
            <p:nvPr userDrawn="1"/>
          </p:nvSpPr>
          <p:spPr bwMode="auto">
            <a:xfrm>
              <a:off x="1651203" y="659419"/>
              <a:ext cx="457985" cy="384540"/>
            </a:xfrm>
            <a:custGeom>
              <a:avLst/>
              <a:gdLst>
                <a:gd name="T0" fmla="*/ 550 w 555"/>
                <a:gd name="T1" fmla="*/ 457 h 465"/>
                <a:gd name="T2" fmla="*/ 555 w 555"/>
                <a:gd name="T3" fmla="*/ 451 h 465"/>
                <a:gd name="T4" fmla="*/ 555 w 555"/>
                <a:gd name="T5" fmla="*/ 254 h 465"/>
                <a:gd name="T6" fmla="*/ 277 w 555"/>
                <a:gd name="T7" fmla="*/ 0 h 465"/>
                <a:gd name="T8" fmla="*/ 0 w 555"/>
                <a:gd name="T9" fmla="*/ 241 h 465"/>
                <a:gd name="T10" fmla="*/ 264 w 555"/>
                <a:gd name="T11" fmla="*/ 465 h 465"/>
                <a:gd name="T12" fmla="*/ 344 w 555"/>
                <a:gd name="T13" fmla="*/ 457 h 465"/>
                <a:gd name="T14" fmla="*/ 362 w 555"/>
                <a:gd name="T15" fmla="*/ 399 h 465"/>
                <a:gd name="T16" fmla="*/ 355 w 555"/>
                <a:gd name="T17" fmla="*/ 390 h 465"/>
                <a:gd name="T18" fmla="*/ 272 w 555"/>
                <a:gd name="T19" fmla="*/ 405 h 465"/>
                <a:gd name="T20" fmla="*/ 110 w 555"/>
                <a:gd name="T21" fmla="*/ 240 h 465"/>
                <a:gd name="T22" fmla="*/ 281 w 555"/>
                <a:gd name="T23" fmla="*/ 60 h 465"/>
                <a:gd name="T24" fmla="*/ 447 w 555"/>
                <a:gd name="T25" fmla="*/ 252 h 465"/>
                <a:gd name="T26" fmla="*/ 447 w 555"/>
                <a:gd name="T27" fmla="*/ 451 h 465"/>
                <a:gd name="T28" fmla="*/ 452 w 555"/>
                <a:gd name="T29" fmla="*/ 457 h 465"/>
                <a:gd name="T30" fmla="*/ 550 w 555"/>
                <a:gd name="T31" fmla="*/ 45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5" h="465">
                  <a:moveTo>
                    <a:pt x="550" y="457"/>
                  </a:moveTo>
                  <a:cubicBezTo>
                    <a:pt x="555" y="457"/>
                    <a:pt x="555" y="454"/>
                    <a:pt x="555" y="451"/>
                  </a:cubicBezTo>
                  <a:cubicBezTo>
                    <a:pt x="555" y="254"/>
                    <a:pt x="555" y="254"/>
                    <a:pt x="555" y="254"/>
                  </a:cubicBezTo>
                  <a:cubicBezTo>
                    <a:pt x="555" y="112"/>
                    <a:pt x="481" y="0"/>
                    <a:pt x="277" y="0"/>
                  </a:cubicBezTo>
                  <a:cubicBezTo>
                    <a:pt x="115" y="0"/>
                    <a:pt x="0" y="91"/>
                    <a:pt x="0" y="241"/>
                  </a:cubicBezTo>
                  <a:cubicBezTo>
                    <a:pt x="0" y="362"/>
                    <a:pt x="73" y="465"/>
                    <a:pt x="264" y="465"/>
                  </a:cubicBezTo>
                  <a:cubicBezTo>
                    <a:pt x="292" y="465"/>
                    <a:pt x="319" y="462"/>
                    <a:pt x="344" y="457"/>
                  </a:cubicBezTo>
                  <a:cubicBezTo>
                    <a:pt x="362" y="399"/>
                    <a:pt x="362" y="399"/>
                    <a:pt x="362" y="399"/>
                  </a:cubicBezTo>
                  <a:cubicBezTo>
                    <a:pt x="364" y="392"/>
                    <a:pt x="360" y="389"/>
                    <a:pt x="355" y="390"/>
                  </a:cubicBezTo>
                  <a:cubicBezTo>
                    <a:pt x="329" y="400"/>
                    <a:pt x="304" y="405"/>
                    <a:pt x="272" y="405"/>
                  </a:cubicBezTo>
                  <a:cubicBezTo>
                    <a:pt x="145" y="405"/>
                    <a:pt x="110" y="316"/>
                    <a:pt x="110" y="240"/>
                  </a:cubicBezTo>
                  <a:cubicBezTo>
                    <a:pt x="110" y="127"/>
                    <a:pt x="176" y="60"/>
                    <a:pt x="281" y="60"/>
                  </a:cubicBezTo>
                  <a:cubicBezTo>
                    <a:pt x="408" y="60"/>
                    <a:pt x="447" y="137"/>
                    <a:pt x="447" y="252"/>
                  </a:cubicBezTo>
                  <a:cubicBezTo>
                    <a:pt x="447" y="451"/>
                    <a:pt x="447" y="451"/>
                    <a:pt x="447" y="451"/>
                  </a:cubicBezTo>
                  <a:cubicBezTo>
                    <a:pt x="447" y="455"/>
                    <a:pt x="449" y="457"/>
                    <a:pt x="452" y="457"/>
                  </a:cubicBezTo>
                  <a:lnTo>
                    <a:pt x="550" y="45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50" name="Freeform 28"/>
            <p:cNvSpPr>
              <a:spLocks/>
            </p:cNvSpPr>
            <p:nvPr userDrawn="1"/>
          </p:nvSpPr>
          <p:spPr bwMode="auto">
            <a:xfrm>
              <a:off x="1364107" y="447675"/>
              <a:ext cx="391855" cy="589766"/>
            </a:xfrm>
            <a:custGeom>
              <a:avLst/>
              <a:gdLst>
                <a:gd name="T0" fmla="*/ 434 w 475"/>
                <a:gd name="T1" fmla="*/ 95 h 713"/>
                <a:gd name="T2" fmla="*/ 443 w 475"/>
                <a:gd name="T3" fmla="*/ 94 h 713"/>
                <a:gd name="T4" fmla="*/ 475 w 475"/>
                <a:gd name="T5" fmla="*/ 30 h 713"/>
                <a:gd name="T6" fmla="*/ 308 w 475"/>
                <a:gd name="T7" fmla="*/ 0 h 713"/>
                <a:gd name="T8" fmla="*/ 70 w 475"/>
                <a:gd name="T9" fmla="*/ 225 h 713"/>
                <a:gd name="T10" fmla="*/ 70 w 475"/>
                <a:gd name="T11" fmla="*/ 274 h 713"/>
                <a:gd name="T12" fmla="*/ 6 w 475"/>
                <a:gd name="T13" fmla="*/ 274 h 713"/>
                <a:gd name="T14" fmla="*/ 0 w 475"/>
                <a:gd name="T15" fmla="*/ 280 h 713"/>
                <a:gd name="T16" fmla="*/ 0 w 475"/>
                <a:gd name="T17" fmla="*/ 318 h 713"/>
                <a:gd name="T18" fmla="*/ 6 w 475"/>
                <a:gd name="T19" fmla="*/ 324 h 713"/>
                <a:gd name="T20" fmla="*/ 71 w 475"/>
                <a:gd name="T21" fmla="*/ 324 h 713"/>
                <a:gd name="T22" fmla="*/ 71 w 475"/>
                <a:gd name="T23" fmla="*/ 707 h 713"/>
                <a:gd name="T24" fmla="*/ 77 w 475"/>
                <a:gd name="T25" fmla="*/ 713 h 713"/>
                <a:gd name="T26" fmla="*/ 164 w 475"/>
                <a:gd name="T27" fmla="*/ 713 h 713"/>
                <a:gd name="T28" fmla="*/ 168 w 475"/>
                <a:gd name="T29" fmla="*/ 707 h 713"/>
                <a:gd name="T30" fmla="*/ 168 w 475"/>
                <a:gd name="T31" fmla="*/ 324 h 713"/>
                <a:gd name="T32" fmla="*/ 288 w 475"/>
                <a:gd name="T33" fmla="*/ 324 h 713"/>
                <a:gd name="T34" fmla="*/ 297 w 475"/>
                <a:gd name="T35" fmla="*/ 318 h 713"/>
                <a:gd name="T36" fmla="*/ 316 w 475"/>
                <a:gd name="T37" fmla="*/ 280 h 713"/>
                <a:gd name="T38" fmla="*/ 310 w 475"/>
                <a:gd name="T39" fmla="*/ 274 h 713"/>
                <a:gd name="T40" fmla="*/ 168 w 475"/>
                <a:gd name="T41" fmla="*/ 274 h 713"/>
                <a:gd name="T42" fmla="*/ 168 w 475"/>
                <a:gd name="T43" fmla="*/ 211 h 713"/>
                <a:gd name="T44" fmla="*/ 311 w 475"/>
                <a:gd name="T45" fmla="*/ 59 h 713"/>
                <a:gd name="T46" fmla="*/ 434 w 475"/>
                <a:gd name="T47" fmla="*/ 95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5" h="713">
                  <a:moveTo>
                    <a:pt x="434" y="95"/>
                  </a:moveTo>
                  <a:cubicBezTo>
                    <a:pt x="437" y="98"/>
                    <a:pt x="441" y="98"/>
                    <a:pt x="443" y="94"/>
                  </a:cubicBezTo>
                  <a:cubicBezTo>
                    <a:pt x="475" y="30"/>
                    <a:pt x="475" y="30"/>
                    <a:pt x="475" y="30"/>
                  </a:cubicBezTo>
                  <a:cubicBezTo>
                    <a:pt x="436" y="12"/>
                    <a:pt x="368" y="0"/>
                    <a:pt x="308" y="0"/>
                  </a:cubicBezTo>
                  <a:cubicBezTo>
                    <a:pt x="170" y="0"/>
                    <a:pt x="70" y="72"/>
                    <a:pt x="70" y="225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6" y="274"/>
                    <a:pt x="6" y="274"/>
                    <a:pt x="6" y="274"/>
                  </a:cubicBezTo>
                  <a:cubicBezTo>
                    <a:pt x="3" y="274"/>
                    <a:pt x="0" y="276"/>
                    <a:pt x="0" y="280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3" y="324"/>
                    <a:pt x="6" y="324"/>
                  </a:cubicBezTo>
                  <a:cubicBezTo>
                    <a:pt x="71" y="324"/>
                    <a:pt x="71" y="324"/>
                    <a:pt x="71" y="324"/>
                  </a:cubicBezTo>
                  <a:cubicBezTo>
                    <a:pt x="71" y="707"/>
                    <a:pt x="71" y="707"/>
                    <a:pt x="71" y="707"/>
                  </a:cubicBezTo>
                  <a:cubicBezTo>
                    <a:pt x="71" y="710"/>
                    <a:pt x="73" y="713"/>
                    <a:pt x="77" y="713"/>
                  </a:cubicBezTo>
                  <a:cubicBezTo>
                    <a:pt x="164" y="713"/>
                    <a:pt x="164" y="713"/>
                    <a:pt x="164" y="713"/>
                  </a:cubicBezTo>
                  <a:cubicBezTo>
                    <a:pt x="167" y="713"/>
                    <a:pt x="168" y="710"/>
                    <a:pt x="168" y="707"/>
                  </a:cubicBezTo>
                  <a:cubicBezTo>
                    <a:pt x="168" y="324"/>
                    <a:pt x="168" y="324"/>
                    <a:pt x="168" y="324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93" y="324"/>
                    <a:pt x="295" y="322"/>
                    <a:pt x="297" y="318"/>
                  </a:cubicBezTo>
                  <a:cubicBezTo>
                    <a:pt x="316" y="280"/>
                    <a:pt x="316" y="280"/>
                    <a:pt x="316" y="280"/>
                  </a:cubicBezTo>
                  <a:cubicBezTo>
                    <a:pt x="317" y="276"/>
                    <a:pt x="314" y="274"/>
                    <a:pt x="310" y="274"/>
                  </a:cubicBezTo>
                  <a:cubicBezTo>
                    <a:pt x="168" y="274"/>
                    <a:pt x="168" y="274"/>
                    <a:pt x="168" y="274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134"/>
                    <a:pt x="200" y="59"/>
                    <a:pt x="311" y="59"/>
                  </a:cubicBezTo>
                  <a:cubicBezTo>
                    <a:pt x="362" y="59"/>
                    <a:pt x="404" y="75"/>
                    <a:pt x="434" y="95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51" name="Freeform 29"/>
            <p:cNvSpPr>
              <a:spLocks/>
            </p:cNvSpPr>
            <p:nvPr userDrawn="1"/>
          </p:nvSpPr>
          <p:spPr bwMode="auto">
            <a:xfrm>
              <a:off x="2605961" y="658624"/>
              <a:ext cx="462119" cy="386289"/>
            </a:xfrm>
            <a:custGeom>
              <a:avLst/>
              <a:gdLst>
                <a:gd name="T0" fmla="*/ 466 w 560"/>
                <a:gd name="T1" fmla="*/ 446 h 467"/>
                <a:gd name="T2" fmla="*/ 495 w 560"/>
                <a:gd name="T3" fmla="*/ 391 h 467"/>
                <a:gd name="T4" fmla="*/ 489 w 560"/>
                <a:gd name="T5" fmla="*/ 384 h 467"/>
                <a:gd name="T6" fmla="*/ 324 w 560"/>
                <a:gd name="T7" fmla="*/ 407 h 467"/>
                <a:gd name="T8" fmla="*/ 111 w 560"/>
                <a:gd name="T9" fmla="*/ 235 h 467"/>
                <a:gd name="T10" fmla="*/ 285 w 560"/>
                <a:gd name="T11" fmla="*/ 56 h 467"/>
                <a:gd name="T12" fmla="*/ 439 w 560"/>
                <a:gd name="T13" fmla="*/ 207 h 467"/>
                <a:gd name="T14" fmla="*/ 172 w 560"/>
                <a:gd name="T15" fmla="*/ 207 h 467"/>
                <a:gd name="T16" fmla="*/ 165 w 560"/>
                <a:gd name="T17" fmla="*/ 213 h 467"/>
                <a:gd name="T18" fmla="*/ 165 w 560"/>
                <a:gd name="T19" fmla="*/ 250 h 467"/>
                <a:gd name="T20" fmla="*/ 172 w 560"/>
                <a:gd name="T21" fmla="*/ 256 h 467"/>
                <a:gd name="T22" fmla="*/ 535 w 560"/>
                <a:gd name="T23" fmla="*/ 256 h 467"/>
                <a:gd name="T24" fmla="*/ 547 w 560"/>
                <a:gd name="T25" fmla="*/ 248 h 467"/>
                <a:gd name="T26" fmla="*/ 285 w 560"/>
                <a:gd name="T27" fmla="*/ 0 h 467"/>
                <a:gd name="T28" fmla="*/ 0 w 560"/>
                <a:gd name="T29" fmla="*/ 235 h 467"/>
                <a:gd name="T30" fmla="*/ 308 w 560"/>
                <a:gd name="T31" fmla="*/ 467 h 467"/>
                <a:gd name="T32" fmla="*/ 466 w 560"/>
                <a:gd name="T33" fmla="*/ 446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0" h="467">
                  <a:moveTo>
                    <a:pt x="466" y="446"/>
                  </a:moveTo>
                  <a:cubicBezTo>
                    <a:pt x="495" y="391"/>
                    <a:pt x="495" y="391"/>
                    <a:pt x="495" y="391"/>
                  </a:cubicBezTo>
                  <a:cubicBezTo>
                    <a:pt x="497" y="386"/>
                    <a:pt x="494" y="382"/>
                    <a:pt x="489" y="384"/>
                  </a:cubicBezTo>
                  <a:cubicBezTo>
                    <a:pt x="453" y="395"/>
                    <a:pt x="401" y="407"/>
                    <a:pt x="324" y="407"/>
                  </a:cubicBezTo>
                  <a:cubicBezTo>
                    <a:pt x="183" y="407"/>
                    <a:pt x="111" y="345"/>
                    <a:pt x="111" y="235"/>
                  </a:cubicBezTo>
                  <a:cubicBezTo>
                    <a:pt x="111" y="119"/>
                    <a:pt x="172" y="56"/>
                    <a:pt x="285" y="56"/>
                  </a:cubicBezTo>
                  <a:cubicBezTo>
                    <a:pt x="395" y="56"/>
                    <a:pt x="445" y="133"/>
                    <a:pt x="439" y="207"/>
                  </a:cubicBezTo>
                  <a:cubicBezTo>
                    <a:pt x="172" y="207"/>
                    <a:pt x="172" y="207"/>
                    <a:pt x="172" y="207"/>
                  </a:cubicBezTo>
                  <a:cubicBezTo>
                    <a:pt x="168" y="207"/>
                    <a:pt x="165" y="210"/>
                    <a:pt x="165" y="213"/>
                  </a:cubicBezTo>
                  <a:cubicBezTo>
                    <a:pt x="165" y="250"/>
                    <a:pt x="165" y="250"/>
                    <a:pt x="165" y="250"/>
                  </a:cubicBezTo>
                  <a:cubicBezTo>
                    <a:pt x="165" y="254"/>
                    <a:pt x="166" y="256"/>
                    <a:pt x="172" y="256"/>
                  </a:cubicBezTo>
                  <a:cubicBezTo>
                    <a:pt x="535" y="256"/>
                    <a:pt x="535" y="256"/>
                    <a:pt x="535" y="256"/>
                  </a:cubicBezTo>
                  <a:cubicBezTo>
                    <a:pt x="542" y="256"/>
                    <a:pt x="546" y="255"/>
                    <a:pt x="547" y="248"/>
                  </a:cubicBezTo>
                  <a:cubicBezTo>
                    <a:pt x="560" y="120"/>
                    <a:pt x="479" y="0"/>
                    <a:pt x="285" y="0"/>
                  </a:cubicBezTo>
                  <a:cubicBezTo>
                    <a:pt x="110" y="0"/>
                    <a:pt x="0" y="100"/>
                    <a:pt x="0" y="235"/>
                  </a:cubicBezTo>
                  <a:cubicBezTo>
                    <a:pt x="0" y="390"/>
                    <a:pt x="110" y="467"/>
                    <a:pt x="308" y="467"/>
                  </a:cubicBezTo>
                  <a:cubicBezTo>
                    <a:pt x="373" y="467"/>
                    <a:pt x="428" y="459"/>
                    <a:pt x="466" y="446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52" name="Freeform 30"/>
            <p:cNvSpPr>
              <a:spLocks/>
            </p:cNvSpPr>
            <p:nvPr userDrawn="1"/>
          </p:nvSpPr>
          <p:spPr bwMode="auto">
            <a:xfrm>
              <a:off x="509975" y="658624"/>
              <a:ext cx="437320" cy="384540"/>
            </a:xfrm>
            <a:custGeom>
              <a:avLst/>
              <a:gdLst>
                <a:gd name="T0" fmla="*/ 289 w 530"/>
                <a:gd name="T1" fmla="*/ 0 h 465"/>
                <a:gd name="T2" fmla="*/ 0 w 530"/>
                <a:gd name="T3" fmla="*/ 232 h 465"/>
                <a:gd name="T4" fmla="*/ 278 w 530"/>
                <a:gd name="T5" fmla="*/ 465 h 465"/>
                <a:gd name="T6" fmla="*/ 355 w 530"/>
                <a:gd name="T7" fmla="*/ 458 h 465"/>
                <a:gd name="T8" fmla="*/ 383 w 530"/>
                <a:gd name="T9" fmla="*/ 402 h 465"/>
                <a:gd name="T10" fmla="*/ 376 w 530"/>
                <a:gd name="T11" fmla="*/ 391 h 465"/>
                <a:gd name="T12" fmla="*/ 276 w 530"/>
                <a:gd name="T13" fmla="*/ 406 h 465"/>
                <a:gd name="T14" fmla="*/ 110 w 530"/>
                <a:gd name="T15" fmla="*/ 232 h 465"/>
                <a:gd name="T16" fmla="*/ 288 w 530"/>
                <a:gd name="T17" fmla="*/ 58 h 465"/>
                <a:gd name="T18" fmla="*/ 466 w 530"/>
                <a:gd name="T19" fmla="*/ 174 h 465"/>
                <a:gd name="T20" fmla="*/ 479 w 530"/>
                <a:gd name="T21" fmla="*/ 174 h 465"/>
                <a:gd name="T22" fmla="*/ 530 w 530"/>
                <a:gd name="T23" fmla="*/ 75 h 465"/>
                <a:gd name="T24" fmla="*/ 289 w 530"/>
                <a:gd name="T25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0" h="465">
                  <a:moveTo>
                    <a:pt x="289" y="0"/>
                  </a:moveTo>
                  <a:cubicBezTo>
                    <a:pt x="96" y="0"/>
                    <a:pt x="0" y="99"/>
                    <a:pt x="0" y="232"/>
                  </a:cubicBezTo>
                  <a:cubicBezTo>
                    <a:pt x="0" y="358"/>
                    <a:pt x="86" y="465"/>
                    <a:pt x="278" y="465"/>
                  </a:cubicBezTo>
                  <a:cubicBezTo>
                    <a:pt x="306" y="465"/>
                    <a:pt x="332" y="462"/>
                    <a:pt x="355" y="458"/>
                  </a:cubicBezTo>
                  <a:cubicBezTo>
                    <a:pt x="383" y="402"/>
                    <a:pt x="383" y="402"/>
                    <a:pt x="383" y="402"/>
                  </a:cubicBezTo>
                  <a:cubicBezTo>
                    <a:pt x="387" y="393"/>
                    <a:pt x="380" y="391"/>
                    <a:pt x="376" y="391"/>
                  </a:cubicBezTo>
                  <a:cubicBezTo>
                    <a:pt x="348" y="399"/>
                    <a:pt x="323" y="406"/>
                    <a:pt x="276" y="406"/>
                  </a:cubicBezTo>
                  <a:cubicBezTo>
                    <a:pt x="182" y="406"/>
                    <a:pt x="110" y="349"/>
                    <a:pt x="110" y="232"/>
                  </a:cubicBezTo>
                  <a:cubicBezTo>
                    <a:pt x="110" y="123"/>
                    <a:pt x="179" y="58"/>
                    <a:pt x="288" y="58"/>
                  </a:cubicBezTo>
                  <a:cubicBezTo>
                    <a:pt x="385" y="58"/>
                    <a:pt x="443" y="109"/>
                    <a:pt x="466" y="174"/>
                  </a:cubicBezTo>
                  <a:cubicBezTo>
                    <a:pt x="467" y="180"/>
                    <a:pt x="476" y="179"/>
                    <a:pt x="479" y="174"/>
                  </a:cubicBezTo>
                  <a:cubicBezTo>
                    <a:pt x="530" y="75"/>
                    <a:pt x="530" y="75"/>
                    <a:pt x="530" y="75"/>
                  </a:cubicBezTo>
                  <a:cubicBezTo>
                    <a:pt x="480" y="36"/>
                    <a:pt x="397" y="0"/>
                    <a:pt x="289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53" name="Freeform 31"/>
            <p:cNvSpPr>
              <a:spLocks/>
            </p:cNvSpPr>
            <p:nvPr userDrawn="1"/>
          </p:nvSpPr>
          <p:spPr bwMode="auto">
            <a:xfrm>
              <a:off x="2186764" y="659419"/>
              <a:ext cx="386132" cy="384540"/>
            </a:xfrm>
            <a:custGeom>
              <a:avLst/>
              <a:gdLst>
                <a:gd name="T0" fmla="*/ 109 w 468"/>
                <a:gd name="T1" fmla="*/ 232 h 465"/>
                <a:gd name="T2" fmla="*/ 287 w 468"/>
                <a:gd name="T3" fmla="*/ 405 h 465"/>
                <a:gd name="T4" fmla="*/ 406 w 468"/>
                <a:gd name="T5" fmla="*/ 386 h 465"/>
                <a:gd name="T6" fmla="*/ 413 w 468"/>
                <a:gd name="T7" fmla="*/ 392 h 465"/>
                <a:gd name="T8" fmla="*/ 382 w 468"/>
                <a:gd name="T9" fmla="*/ 450 h 465"/>
                <a:gd name="T10" fmla="*/ 278 w 468"/>
                <a:gd name="T11" fmla="*/ 465 h 465"/>
                <a:gd name="T12" fmla="*/ 0 w 468"/>
                <a:gd name="T13" fmla="*/ 232 h 465"/>
                <a:gd name="T14" fmla="*/ 278 w 468"/>
                <a:gd name="T15" fmla="*/ 0 h 465"/>
                <a:gd name="T16" fmla="*/ 468 w 468"/>
                <a:gd name="T17" fmla="*/ 45 h 465"/>
                <a:gd name="T18" fmla="*/ 435 w 468"/>
                <a:gd name="T19" fmla="*/ 107 h 465"/>
                <a:gd name="T20" fmla="*/ 425 w 468"/>
                <a:gd name="T21" fmla="*/ 107 h 465"/>
                <a:gd name="T22" fmla="*/ 287 w 468"/>
                <a:gd name="T23" fmla="*/ 60 h 465"/>
                <a:gd name="T24" fmla="*/ 109 w 468"/>
                <a:gd name="T25" fmla="*/ 232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8" h="465">
                  <a:moveTo>
                    <a:pt x="109" y="232"/>
                  </a:moveTo>
                  <a:cubicBezTo>
                    <a:pt x="109" y="343"/>
                    <a:pt x="186" y="405"/>
                    <a:pt x="287" y="405"/>
                  </a:cubicBezTo>
                  <a:cubicBezTo>
                    <a:pt x="330" y="405"/>
                    <a:pt x="363" y="402"/>
                    <a:pt x="406" y="386"/>
                  </a:cubicBezTo>
                  <a:cubicBezTo>
                    <a:pt x="411" y="384"/>
                    <a:pt x="416" y="386"/>
                    <a:pt x="413" y="392"/>
                  </a:cubicBezTo>
                  <a:cubicBezTo>
                    <a:pt x="382" y="450"/>
                    <a:pt x="382" y="450"/>
                    <a:pt x="382" y="450"/>
                  </a:cubicBezTo>
                  <a:cubicBezTo>
                    <a:pt x="346" y="462"/>
                    <a:pt x="319" y="465"/>
                    <a:pt x="278" y="465"/>
                  </a:cubicBezTo>
                  <a:cubicBezTo>
                    <a:pt x="101" y="465"/>
                    <a:pt x="0" y="365"/>
                    <a:pt x="0" y="232"/>
                  </a:cubicBezTo>
                  <a:cubicBezTo>
                    <a:pt x="0" y="100"/>
                    <a:pt x="101" y="0"/>
                    <a:pt x="278" y="0"/>
                  </a:cubicBezTo>
                  <a:cubicBezTo>
                    <a:pt x="364" y="0"/>
                    <a:pt x="433" y="23"/>
                    <a:pt x="468" y="45"/>
                  </a:cubicBezTo>
                  <a:cubicBezTo>
                    <a:pt x="435" y="107"/>
                    <a:pt x="435" y="107"/>
                    <a:pt x="435" y="107"/>
                  </a:cubicBezTo>
                  <a:cubicBezTo>
                    <a:pt x="433" y="111"/>
                    <a:pt x="429" y="111"/>
                    <a:pt x="425" y="107"/>
                  </a:cubicBezTo>
                  <a:cubicBezTo>
                    <a:pt x="396" y="78"/>
                    <a:pt x="344" y="60"/>
                    <a:pt x="287" y="60"/>
                  </a:cubicBezTo>
                  <a:cubicBezTo>
                    <a:pt x="186" y="60"/>
                    <a:pt x="109" y="122"/>
                    <a:pt x="109" y="232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54" name="Freeform 32"/>
            <p:cNvSpPr>
              <a:spLocks/>
            </p:cNvSpPr>
            <p:nvPr userDrawn="1"/>
          </p:nvSpPr>
          <p:spPr bwMode="auto">
            <a:xfrm>
              <a:off x="885456" y="658624"/>
              <a:ext cx="436525" cy="384540"/>
            </a:xfrm>
            <a:custGeom>
              <a:avLst/>
              <a:gdLst>
                <a:gd name="T0" fmla="*/ 242 w 529"/>
                <a:gd name="T1" fmla="*/ 407 h 465"/>
                <a:gd name="T2" fmla="*/ 64 w 529"/>
                <a:gd name="T3" fmla="*/ 291 h 465"/>
                <a:gd name="T4" fmla="*/ 51 w 529"/>
                <a:gd name="T5" fmla="*/ 291 h 465"/>
                <a:gd name="T6" fmla="*/ 0 w 529"/>
                <a:gd name="T7" fmla="*/ 390 h 465"/>
                <a:gd name="T8" fmla="*/ 240 w 529"/>
                <a:gd name="T9" fmla="*/ 465 h 465"/>
                <a:gd name="T10" fmla="*/ 529 w 529"/>
                <a:gd name="T11" fmla="*/ 233 h 465"/>
                <a:gd name="T12" fmla="*/ 252 w 529"/>
                <a:gd name="T13" fmla="*/ 0 h 465"/>
                <a:gd name="T14" fmla="*/ 174 w 529"/>
                <a:gd name="T15" fmla="*/ 7 h 465"/>
                <a:gd name="T16" fmla="*/ 146 w 529"/>
                <a:gd name="T17" fmla="*/ 63 h 465"/>
                <a:gd name="T18" fmla="*/ 154 w 529"/>
                <a:gd name="T19" fmla="*/ 74 h 465"/>
                <a:gd name="T20" fmla="*/ 254 w 529"/>
                <a:gd name="T21" fmla="*/ 59 h 465"/>
                <a:gd name="T22" fmla="*/ 419 w 529"/>
                <a:gd name="T23" fmla="*/ 233 h 465"/>
                <a:gd name="T24" fmla="*/ 242 w 529"/>
                <a:gd name="T25" fmla="*/ 40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9" h="465">
                  <a:moveTo>
                    <a:pt x="242" y="407"/>
                  </a:moveTo>
                  <a:cubicBezTo>
                    <a:pt x="144" y="407"/>
                    <a:pt x="87" y="356"/>
                    <a:pt x="64" y="291"/>
                  </a:cubicBezTo>
                  <a:cubicBezTo>
                    <a:pt x="62" y="285"/>
                    <a:pt x="54" y="286"/>
                    <a:pt x="51" y="291"/>
                  </a:cubicBezTo>
                  <a:cubicBezTo>
                    <a:pt x="0" y="390"/>
                    <a:pt x="0" y="390"/>
                    <a:pt x="0" y="390"/>
                  </a:cubicBezTo>
                  <a:cubicBezTo>
                    <a:pt x="50" y="429"/>
                    <a:pt x="133" y="465"/>
                    <a:pt x="240" y="465"/>
                  </a:cubicBezTo>
                  <a:cubicBezTo>
                    <a:pt x="434" y="465"/>
                    <a:pt x="529" y="366"/>
                    <a:pt x="529" y="233"/>
                  </a:cubicBezTo>
                  <a:cubicBezTo>
                    <a:pt x="529" y="107"/>
                    <a:pt x="443" y="0"/>
                    <a:pt x="252" y="0"/>
                  </a:cubicBezTo>
                  <a:cubicBezTo>
                    <a:pt x="224" y="0"/>
                    <a:pt x="198" y="3"/>
                    <a:pt x="174" y="7"/>
                  </a:cubicBezTo>
                  <a:cubicBezTo>
                    <a:pt x="146" y="63"/>
                    <a:pt x="146" y="63"/>
                    <a:pt x="146" y="63"/>
                  </a:cubicBezTo>
                  <a:cubicBezTo>
                    <a:pt x="143" y="72"/>
                    <a:pt x="149" y="74"/>
                    <a:pt x="154" y="74"/>
                  </a:cubicBezTo>
                  <a:cubicBezTo>
                    <a:pt x="182" y="66"/>
                    <a:pt x="207" y="59"/>
                    <a:pt x="254" y="59"/>
                  </a:cubicBezTo>
                  <a:cubicBezTo>
                    <a:pt x="347" y="59"/>
                    <a:pt x="419" y="116"/>
                    <a:pt x="419" y="233"/>
                  </a:cubicBezTo>
                  <a:cubicBezTo>
                    <a:pt x="419" y="342"/>
                    <a:pt x="350" y="407"/>
                    <a:pt x="242" y="407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</p:grpSp>
      <p:sp>
        <p:nvSpPr>
          <p:cNvPr id="68" name="Freeform 10"/>
          <p:cNvSpPr>
            <a:spLocks/>
          </p:cNvSpPr>
          <p:nvPr userDrawn="1"/>
        </p:nvSpPr>
        <p:spPr bwMode="auto">
          <a:xfrm>
            <a:off x="-620064" y="1386500"/>
            <a:ext cx="1098853" cy="2261576"/>
          </a:xfrm>
          <a:custGeom>
            <a:avLst/>
            <a:gdLst>
              <a:gd name="T0" fmla="*/ 0 w 2099"/>
              <a:gd name="T1" fmla="*/ 4320 h 4320"/>
              <a:gd name="T2" fmla="*/ 174 w 2099"/>
              <a:gd name="T3" fmla="*/ 4320 h 4320"/>
              <a:gd name="T4" fmla="*/ 2099 w 2099"/>
              <a:gd name="T5" fmla="*/ 0 h 4320"/>
              <a:gd name="T6" fmla="*/ 1925 w 2099"/>
              <a:gd name="T7" fmla="*/ 0 h 4320"/>
              <a:gd name="T8" fmla="*/ 0 w 2099"/>
              <a:gd name="T9" fmla="*/ 432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99" h="4320">
                <a:moveTo>
                  <a:pt x="0" y="4320"/>
                </a:moveTo>
                <a:lnTo>
                  <a:pt x="174" y="4320"/>
                </a:lnTo>
                <a:lnTo>
                  <a:pt x="2099" y="0"/>
                </a:lnTo>
                <a:lnTo>
                  <a:pt x="1925" y="0"/>
                </a:lnTo>
                <a:lnTo>
                  <a:pt x="0" y="432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73" name="Espace réservé du texte 72"/>
          <p:cNvSpPr>
            <a:spLocks noGrp="1"/>
          </p:cNvSpPr>
          <p:nvPr userDrawn="1">
            <p:ph type="body" sz="quarter" idx="10"/>
          </p:nvPr>
        </p:nvSpPr>
        <p:spPr>
          <a:xfrm>
            <a:off x="429940" y="2625090"/>
            <a:ext cx="3272110" cy="1578894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cap="all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400" b="1" cap="all" baseline="0">
                <a:solidFill>
                  <a:schemeClr val="accent1"/>
                </a:solidFill>
              </a:defRPr>
            </a:lvl2pPr>
            <a:lvl3pPr marL="0" indent="0">
              <a:spcBef>
                <a:spcPts val="2400"/>
              </a:spcBef>
              <a:buNone/>
              <a:defRPr sz="1200" cap="all" baseline="0">
                <a:solidFill>
                  <a:schemeClr val="bg2"/>
                </a:solidFill>
              </a:defRPr>
            </a:lvl3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779646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2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8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2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1.11111E-6 1.85185E-6 L -0.1151 0.34282 " pathEditMode="relative" rAng="0" ptsTypes="AA">
                                      <p:cBhvr>
                                        <p:cTn id="33" dur="1250" spd="-100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747" y="1713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2" presetClass="pat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4.44444E-6 3.7037E-7 L 0.22639 -0.67708 " pathEditMode="relative" rAng="0" ptsTypes="AA">
                                      <p:cBhvr>
                                        <p:cTn id="38" dur="125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319" y="-33866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2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2" presetClass="path" presetSubtype="0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3.33333E-6 -4.07407E-6 L -0.14167 0.41088 " pathEditMode="relative" rAng="0" ptsTypes="AA">
                                      <p:cBhvr>
                                        <p:cTn id="43" dur="1250" spd="-100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083" y="2053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2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3.33333E-6 1.48148E-6 L 0.10139 -0.30486 " pathEditMode="relative" rAng="0" ptsTypes="AA">
                                      <p:cBhvr>
                                        <p:cTn id="48" dur="125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69" y="-15255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50"/>
                                        <p:tgtEl>
                                          <p:spTgt spid="7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50"/>
                                        <p:tgtEl>
                                          <p:spTgt spid="7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42" presetClass="path" presetSubtype="0" decel="100000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Motion origin="layout" path="M 1.94444E-6 2.22222E-6 L 1.94444E-6 -0.15394 " pathEditMode="relative" rAng="0" ptsTypes="AA">
                                      <p:cBhvr>
                                        <p:cTn id="62" dur="750" spd="-100000" fill="hold"/>
                                        <p:tgtEl>
                                          <p:spTgt spid="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708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42" presetClass="path" presetSubtype="0" decel="100000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Motion origin="layout" path="M 2.77778E-6 -2.59259E-6 L 2.77778E-6 -0.19791 " pathEditMode="relative" rAng="0" ptsTypes="AA">
                                      <p:cBhvr>
                                        <p:cTn id="64" dur="750" spd="-100000" fill="hold"/>
                                        <p:tgtEl>
                                          <p:spTgt spid="7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907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42" presetClass="path" presetSubtype="0" decel="100000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Motion origin="layout" path="M 4.44444E-6 -2.22222E-6 L 4.44444E-6 -0.21736 " pathEditMode="relative" rAng="0" ptsTypes="AA">
                                      <p:cBhvr>
                                        <p:cTn id="66" dur="750" spd="-100000" fill="hold"/>
                                        <p:tgtEl>
                                          <p:spTgt spid="7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088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25" grpId="0" animBg="1"/>
      <p:bldP spid="23" grpId="0" animBg="1"/>
      <p:bldP spid="21" grpId="0" animBg="1"/>
      <p:bldP spid="30" grpId="0" animBg="1"/>
      <p:bldP spid="27" grpId="0" animBg="1"/>
      <p:bldP spid="68" grpId="0" animBg="1"/>
      <p:bldP spid="68" grpId="1" animBg="1"/>
      <p:bldP spid="73" grpId="0" build="allAtOnce">
        <p:tmplLst>
          <p:tmpl lvl="1">
            <p:tnLst>
              <p:par>
                <p:cTn presetID="10" presetClass="entr" presetSubtype="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7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3" grpId="1" build="allAtOnce">
        <p:tmplLst>
          <p:tmpl lvl="1">
            <p:tnLst>
              <p:par>
                <p:cTn presetID="42" presetClass="path" presetSubtype="0" decel="100000" fill="hold" nodeType="withEffect">
                  <p:stCondLst>
                    <p:cond delay="2250"/>
                  </p:stCondLst>
                  <p:childTnLst>
                    <p:animMotion origin="layout" path="M 1.94444E-6 2.22222E-6 L 1.94444E-6 -0.15394 " pathEditMode="relative" rAng="0" ptsTypes="AA">
                      <p:cBhvr>
                        <p:cTn dur="750" spd="-100000" fill="hold"/>
                        <p:tgtEl>
                          <p:spTgt spid="7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7708"/>
                    </p:animMotion>
                  </p:childTnLst>
                </p:cTn>
              </p:par>
            </p:tnLst>
          </p:tmpl>
          <p:tmpl lvl="2">
            <p:tnLst>
              <p:par>
                <p:cTn presetID="42" presetClass="path" presetSubtype="0" decel="100000" fill="hold" nodeType="withEffect">
                  <p:stCondLst>
                    <p:cond delay="2250"/>
                  </p:stCondLst>
                  <p:childTnLst>
                    <p:animMotion origin="layout" path="M 2.77778E-6 -2.59259E-6 L 2.77778E-6 -0.19791 " pathEditMode="relative" rAng="0" ptsTypes="AA">
                      <p:cBhvr>
                        <p:cTn dur="750" spd="-100000" fill="hold"/>
                        <p:tgtEl>
                          <p:spTgt spid="7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9907"/>
                    </p:animMotion>
                  </p:childTnLst>
                </p:cTn>
              </p:par>
            </p:tnLst>
          </p:tmpl>
          <p:tmpl lvl="3">
            <p:tnLst>
              <p:par>
                <p:cTn presetID="42" presetClass="path" presetSubtype="0" decel="100000" fill="hold" nodeType="withEffect">
                  <p:stCondLst>
                    <p:cond delay="2250"/>
                  </p:stCondLst>
                  <p:childTnLst>
                    <p:animMotion origin="layout" path="M 4.44444E-6 -2.22222E-6 L 4.44444E-6 -0.21736 " pathEditMode="relative" rAng="0" ptsTypes="AA">
                      <p:cBhvr>
                        <p:cTn dur="750" spd="-100000" fill="hold"/>
                        <p:tgtEl>
                          <p:spTgt spid="73"/>
                        </p:tgtEl>
                        <p:attrNameLst>
                          <p:attrName>ppt_x</p:attrName>
                          <p:attrName>ppt_y</p:attrName>
                        </p:attrNameLst>
                      </p:cBhvr>
                      <p:rCtr x="0" y="-10880"/>
                    </p:animMotion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1200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395288" y="6518709"/>
            <a:ext cx="148314" cy="148312"/>
          </a:xfrm>
          <a:prstGeom prst="rect">
            <a:avLst/>
          </a:prstGeom>
          <a:solidFill>
            <a:schemeClr val="bg2"/>
          </a:solidFill>
        </p:spPr>
        <p:txBody>
          <a:bodyPr vert="horz" wrap="none" lIns="91440" tIns="45720" rIns="91440" bIns="45720" rtlCol="0" anchor="ctr"/>
          <a:lstStyle>
            <a:lvl1pPr algn="ctr">
              <a:defRPr sz="800" b="1">
                <a:solidFill>
                  <a:schemeClr val="bg1"/>
                </a:solidFill>
              </a:defRPr>
            </a:lvl1pPr>
          </a:lstStyle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3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97072" y="6531309"/>
            <a:ext cx="4284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10" name="Espace réservé du texte 44"/>
          <p:cNvSpPr>
            <a:spLocks noGrp="1"/>
          </p:cNvSpPr>
          <p:nvPr>
            <p:ph type="body" sz="quarter" idx="13"/>
          </p:nvPr>
        </p:nvSpPr>
        <p:spPr>
          <a:xfrm>
            <a:off x="395287" y="395288"/>
            <a:ext cx="8353426" cy="655564"/>
          </a:xfrm>
          <a:blipFill dpi="0" rotWithShape="1">
            <a:blip r:embed="rId2"/>
            <a:srcRect/>
            <a:tile tx="6350" ty="0" sx="100000" sy="100000" flip="none" algn="tl"/>
          </a:blipFill>
        </p:spPr>
        <p:txBody>
          <a:bodyPr wrap="square" bIns="0">
            <a:spAutoFit/>
          </a:bodyPr>
          <a:lstStyle>
            <a:lvl1pPr marL="0" indent="0">
              <a:spcBef>
                <a:spcPts val="0"/>
              </a:spcBef>
              <a:buNone/>
              <a:defRPr sz="240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000" cap="all" baseline="0">
                <a:solidFill>
                  <a:schemeClr val="bg2"/>
                </a:solidFill>
              </a:defRPr>
            </a:lvl2pPr>
            <a:lvl3pPr marL="685800" indent="0">
              <a:buNone/>
              <a:defRPr/>
            </a:lvl3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1" name="Espace réservé du texte 18"/>
          <p:cNvSpPr>
            <a:spLocks noGrp="1"/>
          </p:cNvSpPr>
          <p:nvPr>
            <p:ph type="body" sz="quarter" idx="14" hasCustomPrompt="1"/>
          </p:nvPr>
        </p:nvSpPr>
        <p:spPr>
          <a:xfrm>
            <a:off x="619125" y="6534149"/>
            <a:ext cx="3600" cy="118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50192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1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395288" y="6518709"/>
            <a:ext cx="148314" cy="148312"/>
          </a:xfrm>
          <a:prstGeom prst="rect">
            <a:avLst/>
          </a:prstGeom>
          <a:solidFill>
            <a:schemeClr val="bg2"/>
          </a:solidFill>
        </p:spPr>
        <p:txBody>
          <a:bodyPr vert="horz" wrap="none" lIns="91440" tIns="45720" rIns="91440" bIns="45720" rtlCol="0" anchor="ctr"/>
          <a:lstStyle>
            <a:lvl1pPr algn="ctr">
              <a:defRPr sz="800" b="1">
                <a:solidFill>
                  <a:schemeClr val="bg1"/>
                </a:solidFill>
              </a:defRPr>
            </a:lvl1pPr>
          </a:lstStyle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3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97072" y="6531309"/>
            <a:ext cx="4284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4" name="Espace réservé pour une image  3"/>
          <p:cNvSpPr>
            <a:spLocks noGrp="1"/>
          </p:cNvSpPr>
          <p:nvPr>
            <p:ph type="pic" sz="quarter" idx="15"/>
          </p:nvPr>
        </p:nvSpPr>
        <p:spPr>
          <a:xfrm>
            <a:off x="5430520" y="0"/>
            <a:ext cx="8348980" cy="6857999"/>
          </a:xfrm>
          <a:prstGeom prst="parallelogram">
            <a:avLst>
              <a:gd name="adj" fmla="val 44390"/>
            </a:avLst>
          </a:prstGeom>
          <a:solidFill>
            <a:schemeClr val="bg2"/>
          </a:solidFill>
        </p:spPr>
        <p:txBody>
          <a:bodyPr anchor="ctr"/>
          <a:lstStyle>
            <a:lvl1pPr marL="0" indent="0">
              <a:buNone/>
              <a:defRPr/>
            </a:lvl1pPr>
          </a:lstStyle>
          <a:p>
            <a:endParaRPr lang="fr-FR" dirty="0"/>
          </a:p>
        </p:txBody>
      </p:sp>
      <p:sp>
        <p:nvSpPr>
          <p:cNvPr id="11" name="Espace réservé du texte 44"/>
          <p:cNvSpPr>
            <a:spLocks noGrp="1"/>
          </p:cNvSpPr>
          <p:nvPr>
            <p:ph type="body" sz="quarter" idx="13"/>
          </p:nvPr>
        </p:nvSpPr>
        <p:spPr>
          <a:xfrm>
            <a:off x="395287" y="395288"/>
            <a:ext cx="8353426" cy="655564"/>
          </a:xfrm>
          <a:blipFill dpi="0" rotWithShape="1">
            <a:blip r:embed="rId2"/>
            <a:srcRect/>
            <a:tile tx="6350" ty="0" sx="100000" sy="100000" flip="none" algn="tl"/>
          </a:blipFill>
        </p:spPr>
        <p:txBody>
          <a:bodyPr wrap="square" bIns="0">
            <a:spAutoFit/>
          </a:bodyPr>
          <a:lstStyle>
            <a:lvl1pPr marL="0" indent="0">
              <a:spcBef>
                <a:spcPts val="0"/>
              </a:spcBef>
              <a:buNone/>
              <a:defRPr sz="240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000" cap="all" baseline="0">
                <a:solidFill>
                  <a:schemeClr val="bg2"/>
                </a:solidFill>
              </a:defRPr>
            </a:lvl2pPr>
            <a:lvl3pPr marL="685800" indent="0">
              <a:buNone/>
              <a:defRPr/>
            </a:lvl3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2" name="Espace réservé du texte 18"/>
          <p:cNvSpPr>
            <a:spLocks noGrp="1"/>
          </p:cNvSpPr>
          <p:nvPr>
            <p:ph type="body" sz="quarter" idx="16" hasCustomPrompt="1"/>
          </p:nvPr>
        </p:nvSpPr>
        <p:spPr>
          <a:xfrm>
            <a:off x="619125" y="6534149"/>
            <a:ext cx="3600" cy="118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51547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395288" y="6518709"/>
            <a:ext cx="148314" cy="148312"/>
          </a:xfrm>
          <a:prstGeom prst="rect">
            <a:avLst/>
          </a:prstGeom>
          <a:solidFill>
            <a:schemeClr val="bg2"/>
          </a:solidFill>
        </p:spPr>
        <p:txBody>
          <a:bodyPr vert="horz" wrap="none" lIns="91440" tIns="45720" rIns="91440" bIns="45720" rtlCol="0" anchor="ctr"/>
          <a:lstStyle>
            <a:lvl1pPr algn="ctr">
              <a:defRPr sz="800" b="1">
                <a:solidFill>
                  <a:schemeClr val="bg1"/>
                </a:solidFill>
              </a:defRPr>
            </a:lvl1pPr>
          </a:lstStyle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4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97072" y="6531309"/>
            <a:ext cx="4284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52" name="Freeform 6"/>
          <p:cNvSpPr>
            <a:spLocks/>
          </p:cNvSpPr>
          <p:nvPr userDrawn="1"/>
        </p:nvSpPr>
        <p:spPr bwMode="auto">
          <a:xfrm>
            <a:off x="2641601" y="-1588"/>
            <a:ext cx="3860800" cy="6858000"/>
          </a:xfrm>
          <a:custGeom>
            <a:avLst/>
            <a:gdLst>
              <a:gd name="T0" fmla="*/ 0 w 2432"/>
              <a:gd name="T1" fmla="*/ 4320 h 4320"/>
              <a:gd name="T2" fmla="*/ 508 w 2432"/>
              <a:gd name="T3" fmla="*/ 4320 h 4320"/>
              <a:gd name="T4" fmla="*/ 2432 w 2432"/>
              <a:gd name="T5" fmla="*/ 0 h 4320"/>
              <a:gd name="T6" fmla="*/ 1924 w 2432"/>
              <a:gd name="T7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32" h="4320">
                <a:moveTo>
                  <a:pt x="0" y="4320"/>
                </a:moveTo>
                <a:lnTo>
                  <a:pt x="508" y="4320"/>
                </a:lnTo>
                <a:lnTo>
                  <a:pt x="2432" y="0"/>
                </a:lnTo>
                <a:lnTo>
                  <a:pt x="1924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57" name="Freeform 11"/>
          <p:cNvSpPr>
            <a:spLocks/>
          </p:cNvSpPr>
          <p:nvPr userDrawn="1"/>
        </p:nvSpPr>
        <p:spPr bwMode="auto">
          <a:xfrm>
            <a:off x="2906713" y="-1588"/>
            <a:ext cx="3332163" cy="6858000"/>
          </a:xfrm>
          <a:custGeom>
            <a:avLst/>
            <a:gdLst>
              <a:gd name="T0" fmla="*/ 0 w 2099"/>
              <a:gd name="T1" fmla="*/ 4320 h 4320"/>
              <a:gd name="T2" fmla="*/ 174 w 2099"/>
              <a:gd name="T3" fmla="*/ 4320 h 4320"/>
              <a:gd name="T4" fmla="*/ 2099 w 2099"/>
              <a:gd name="T5" fmla="*/ 0 h 4320"/>
              <a:gd name="T6" fmla="*/ 1925 w 2099"/>
              <a:gd name="T7" fmla="*/ 0 h 4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99" h="4320">
                <a:moveTo>
                  <a:pt x="0" y="4320"/>
                </a:moveTo>
                <a:lnTo>
                  <a:pt x="174" y="4320"/>
                </a:lnTo>
                <a:lnTo>
                  <a:pt x="2099" y="0"/>
                </a:lnTo>
                <a:lnTo>
                  <a:pt x="1925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11" name="Espace réservé du texte 44"/>
          <p:cNvSpPr>
            <a:spLocks noGrp="1"/>
          </p:cNvSpPr>
          <p:nvPr>
            <p:ph type="body" sz="quarter" idx="13"/>
          </p:nvPr>
        </p:nvSpPr>
        <p:spPr>
          <a:xfrm>
            <a:off x="395287" y="395288"/>
            <a:ext cx="8353426" cy="655564"/>
          </a:xfrm>
          <a:blipFill dpi="0" rotWithShape="1">
            <a:blip r:embed="rId2"/>
            <a:srcRect/>
            <a:tile tx="6350" ty="0" sx="100000" sy="100000" flip="none" algn="tl"/>
          </a:blipFill>
        </p:spPr>
        <p:txBody>
          <a:bodyPr wrap="square" bIns="0">
            <a:spAutoFit/>
          </a:bodyPr>
          <a:lstStyle>
            <a:lvl1pPr marL="0" indent="0">
              <a:spcBef>
                <a:spcPts val="0"/>
              </a:spcBef>
              <a:buNone/>
              <a:defRPr sz="2400" cap="all" baseline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2000" cap="all" baseline="0">
                <a:solidFill>
                  <a:schemeClr val="bg2"/>
                </a:solidFill>
              </a:defRPr>
            </a:lvl2pPr>
            <a:lvl3pPr marL="685800" indent="0">
              <a:buNone/>
              <a:defRPr/>
            </a:lvl3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2" name="Espace réservé du texte 18"/>
          <p:cNvSpPr>
            <a:spLocks noGrp="1"/>
          </p:cNvSpPr>
          <p:nvPr>
            <p:ph type="body" sz="quarter" idx="14" hasCustomPrompt="1"/>
          </p:nvPr>
        </p:nvSpPr>
        <p:spPr>
          <a:xfrm>
            <a:off x="619125" y="6534149"/>
            <a:ext cx="3600" cy="118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568143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395288" y="6518709"/>
            <a:ext cx="148314" cy="148312"/>
          </a:xfrm>
          <a:prstGeom prst="rect">
            <a:avLst/>
          </a:prstGeom>
          <a:solidFill>
            <a:schemeClr val="bg2"/>
          </a:solidFill>
        </p:spPr>
        <p:txBody>
          <a:bodyPr vert="horz" wrap="none" lIns="91440" tIns="45720" rIns="91440" bIns="45720" rtlCol="0" anchor="ctr"/>
          <a:lstStyle>
            <a:lvl1pPr algn="ctr">
              <a:defRPr sz="800" b="1">
                <a:solidFill>
                  <a:schemeClr val="bg1"/>
                </a:solidFill>
              </a:defRPr>
            </a:lvl1pPr>
          </a:lstStyle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17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97072" y="6531309"/>
            <a:ext cx="4284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7" name="Espace réservé du texte 18"/>
          <p:cNvSpPr>
            <a:spLocks noGrp="1"/>
          </p:cNvSpPr>
          <p:nvPr>
            <p:ph type="body" sz="quarter" idx="13" hasCustomPrompt="1"/>
          </p:nvPr>
        </p:nvSpPr>
        <p:spPr>
          <a:xfrm>
            <a:off x="619125" y="6534149"/>
            <a:ext cx="3600" cy="118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059029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2 lig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Bef>
                <a:spcPts val="600"/>
              </a:spcBef>
              <a:defRPr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404FC86-5378-4FCD-9912-BA8E8AFCA3FB}" type="datetimeFigureOut">
              <a:rPr lang="en-GB"/>
              <a:pPr>
                <a:defRPr/>
              </a:pPr>
              <a:t>17/09/2018</a:t>
            </a:fld>
            <a:endParaRPr lang="en-GB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457D8C5-817C-4775-843F-DC8F06427BF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61522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56000">
              <a:schemeClr val="bg1"/>
            </a:gs>
            <a:gs pos="100000">
              <a:schemeClr val="bg2">
                <a:lumMod val="20000"/>
                <a:lumOff val="8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95288" y="254000"/>
            <a:ext cx="7688262" cy="43858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95288" y="1356360"/>
            <a:ext cx="7688262" cy="48206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-213741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97072" y="6531309"/>
            <a:ext cx="4284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395288" y="6518709"/>
            <a:ext cx="148314" cy="148312"/>
          </a:xfrm>
          <a:prstGeom prst="rect">
            <a:avLst/>
          </a:prstGeom>
          <a:solidFill>
            <a:schemeClr val="bg2"/>
          </a:solidFill>
        </p:spPr>
        <p:txBody>
          <a:bodyPr vert="horz" wrap="none" lIns="91440" tIns="45720" rIns="91440" bIns="45720" rtlCol="0" anchor="ctr"/>
          <a:lstStyle>
            <a:lvl1pPr algn="ctr">
              <a:defRPr sz="800" b="1">
                <a:solidFill>
                  <a:schemeClr val="bg1"/>
                </a:solidFill>
              </a:defRPr>
            </a:lvl1pPr>
          </a:lstStyle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  <p:grpSp>
        <p:nvGrpSpPr>
          <p:cNvPr id="7" name="Groupe 6"/>
          <p:cNvGrpSpPr/>
          <p:nvPr userDrawn="1"/>
        </p:nvGrpSpPr>
        <p:grpSpPr>
          <a:xfrm>
            <a:off x="8142287" y="6500813"/>
            <a:ext cx="603098" cy="140805"/>
            <a:chOff x="8142287" y="6500813"/>
            <a:chExt cx="603098" cy="140805"/>
          </a:xfrm>
        </p:grpSpPr>
        <p:sp>
          <p:nvSpPr>
            <p:cNvPr id="61" name="Freeform 27"/>
            <p:cNvSpPr>
              <a:spLocks/>
            </p:cNvSpPr>
            <p:nvPr userDrawn="1"/>
          </p:nvSpPr>
          <p:spPr bwMode="auto">
            <a:xfrm>
              <a:off x="8411342" y="6550734"/>
              <a:ext cx="107974" cy="90659"/>
            </a:xfrm>
            <a:custGeom>
              <a:avLst/>
              <a:gdLst>
                <a:gd name="T0" fmla="*/ 550 w 555"/>
                <a:gd name="T1" fmla="*/ 457 h 465"/>
                <a:gd name="T2" fmla="*/ 555 w 555"/>
                <a:gd name="T3" fmla="*/ 451 h 465"/>
                <a:gd name="T4" fmla="*/ 555 w 555"/>
                <a:gd name="T5" fmla="*/ 254 h 465"/>
                <a:gd name="T6" fmla="*/ 277 w 555"/>
                <a:gd name="T7" fmla="*/ 0 h 465"/>
                <a:gd name="T8" fmla="*/ 0 w 555"/>
                <a:gd name="T9" fmla="*/ 241 h 465"/>
                <a:gd name="T10" fmla="*/ 264 w 555"/>
                <a:gd name="T11" fmla="*/ 465 h 465"/>
                <a:gd name="T12" fmla="*/ 344 w 555"/>
                <a:gd name="T13" fmla="*/ 457 h 465"/>
                <a:gd name="T14" fmla="*/ 362 w 555"/>
                <a:gd name="T15" fmla="*/ 399 h 465"/>
                <a:gd name="T16" fmla="*/ 355 w 555"/>
                <a:gd name="T17" fmla="*/ 390 h 465"/>
                <a:gd name="T18" fmla="*/ 272 w 555"/>
                <a:gd name="T19" fmla="*/ 405 h 465"/>
                <a:gd name="T20" fmla="*/ 110 w 555"/>
                <a:gd name="T21" fmla="*/ 240 h 465"/>
                <a:gd name="T22" fmla="*/ 281 w 555"/>
                <a:gd name="T23" fmla="*/ 60 h 465"/>
                <a:gd name="T24" fmla="*/ 447 w 555"/>
                <a:gd name="T25" fmla="*/ 252 h 465"/>
                <a:gd name="T26" fmla="*/ 447 w 555"/>
                <a:gd name="T27" fmla="*/ 451 h 465"/>
                <a:gd name="T28" fmla="*/ 452 w 555"/>
                <a:gd name="T29" fmla="*/ 457 h 465"/>
                <a:gd name="T30" fmla="*/ 550 w 555"/>
                <a:gd name="T31" fmla="*/ 45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5" h="465">
                  <a:moveTo>
                    <a:pt x="550" y="457"/>
                  </a:moveTo>
                  <a:cubicBezTo>
                    <a:pt x="555" y="457"/>
                    <a:pt x="555" y="454"/>
                    <a:pt x="555" y="451"/>
                  </a:cubicBezTo>
                  <a:cubicBezTo>
                    <a:pt x="555" y="254"/>
                    <a:pt x="555" y="254"/>
                    <a:pt x="555" y="254"/>
                  </a:cubicBezTo>
                  <a:cubicBezTo>
                    <a:pt x="555" y="112"/>
                    <a:pt x="481" y="0"/>
                    <a:pt x="277" y="0"/>
                  </a:cubicBezTo>
                  <a:cubicBezTo>
                    <a:pt x="115" y="0"/>
                    <a:pt x="0" y="91"/>
                    <a:pt x="0" y="241"/>
                  </a:cubicBezTo>
                  <a:cubicBezTo>
                    <a:pt x="0" y="362"/>
                    <a:pt x="73" y="465"/>
                    <a:pt x="264" y="465"/>
                  </a:cubicBezTo>
                  <a:cubicBezTo>
                    <a:pt x="292" y="465"/>
                    <a:pt x="319" y="462"/>
                    <a:pt x="344" y="457"/>
                  </a:cubicBezTo>
                  <a:cubicBezTo>
                    <a:pt x="362" y="399"/>
                    <a:pt x="362" y="399"/>
                    <a:pt x="362" y="399"/>
                  </a:cubicBezTo>
                  <a:cubicBezTo>
                    <a:pt x="364" y="392"/>
                    <a:pt x="360" y="389"/>
                    <a:pt x="355" y="390"/>
                  </a:cubicBezTo>
                  <a:cubicBezTo>
                    <a:pt x="329" y="400"/>
                    <a:pt x="304" y="405"/>
                    <a:pt x="272" y="405"/>
                  </a:cubicBezTo>
                  <a:cubicBezTo>
                    <a:pt x="145" y="405"/>
                    <a:pt x="110" y="316"/>
                    <a:pt x="110" y="240"/>
                  </a:cubicBezTo>
                  <a:cubicBezTo>
                    <a:pt x="110" y="127"/>
                    <a:pt x="176" y="60"/>
                    <a:pt x="281" y="60"/>
                  </a:cubicBezTo>
                  <a:cubicBezTo>
                    <a:pt x="408" y="60"/>
                    <a:pt x="447" y="137"/>
                    <a:pt x="447" y="252"/>
                  </a:cubicBezTo>
                  <a:cubicBezTo>
                    <a:pt x="447" y="451"/>
                    <a:pt x="447" y="451"/>
                    <a:pt x="447" y="451"/>
                  </a:cubicBezTo>
                  <a:cubicBezTo>
                    <a:pt x="447" y="455"/>
                    <a:pt x="449" y="457"/>
                    <a:pt x="452" y="457"/>
                  </a:cubicBezTo>
                  <a:lnTo>
                    <a:pt x="550" y="457"/>
                  </a:lnTo>
                  <a:close/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62" name="Freeform 28"/>
            <p:cNvSpPr>
              <a:spLocks/>
            </p:cNvSpPr>
            <p:nvPr userDrawn="1"/>
          </p:nvSpPr>
          <p:spPr bwMode="auto">
            <a:xfrm>
              <a:off x="8343657" y="6500813"/>
              <a:ext cx="92384" cy="139044"/>
            </a:xfrm>
            <a:custGeom>
              <a:avLst/>
              <a:gdLst>
                <a:gd name="T0" fmla="*/ 434 w 475"/>
                <a:gd name="T1" fmla="*/ 95 h 713"/>
                <a:gd name="T2" fmla="*/ 443 w 475"/>
                <a:gd name="T3" fmla="*/ 94 h 713"/>
                <a:gd name="T4" fmla="*/ 475 w 475"/>
                <a:gd name="T5" fmla="*/ 30 h 713"/>
                <a:gd name="T6" fmla="*/ 308 w 475"/>
                <a:gd name="T7" fmla="*/ 0 h 713"/>
                <a:gd name="T8" fmla="*/ 70 w 475"/>
                <a:gd name="T9" fmla="*/ 225 h 713"/>
                <a:gd name="T10" fmla="*/ 70 w 475"/>
                <a:gd name="T11" fmla="*/ 274 h 713"/>
                <a:gd name="T12" fmla="*/ 6 w 475"/>
                <a:gd name="T13" fmla="*/ 274 h 713"/>
                <a:gd name="T14" fmla="*/ 0 w 475"/>
                <a:gd name="T15" fmla="*/ 280 h 713"/>
                <a:gd name="T16" fmla="*/ 0 w 475"/>
                <a:gd name="T17" fmla="*/ 318 h 713"/>
                <a:gd name="T18" fmla="*/ 6 w 475"/>
                <a:gd name="T19" fmla="*/ 324 h 713"/>
                <a:gd name="T20" fmla="*/ 71 w 475"/>
                <a:gd name="T21" fmla="*/ 324 h 713"/>
                <a:gd name="T22" fmla="*/ 71 w 475"/>
                <a:gd name="T23" fmla="*/ 707 h 713"/>
                <a:gd name="T24" fmla="*/ 77 w 475"/>
                <a:gd name="T25" fmla="*/ 713 h 713"/>
                <a:gd name="T26" fmla="*/ 164 w 475"/>
                <a:gd name="T27" fmla="*/ 713 h 713"/>
                <a:gd name="T28" fmla="*/ 168 w 475"/>
                <a:gd name="T29" fmla="*/ 707 h 713"/>
                <a:gd name="T30" fmla="*/ 168 w 475"/>
                <a:gd name="T31" fmla="*/ 324 h 713"/>
                <a:gd name="T32" fmla="*/ 288 w 475"/>
                <a:gd name="T33" fmla="*/ 324 h 713"/>
                <a:gd name="T34" fmla="*/ 297 w 475"/>
                <a:gd name="T35" fmla="*/ 318 h 713"/>
                <a:gd name="T36" fmla="*/ 316 w 475"/>
                <a:gd name="T37" fmla="*/ 280 h 713"/>
                <a:gd name="T38" fmla="*/ 310 w 475"/>
                <a:gd name="T39" fmla="*/ 274 h 713"/>
                <a:gd name="T40" fmla="*/ 168 w 475"/>
                <a:gd name="T41" fmla="*/ 274 h 713"/>
                <a:gd name="T42" fmla="*/ 168 w 475"/>
                <a:gd name="T43" fmla="*/ 211 h 713"/>
                <a:gd name="T44" fmla="*/ 311 w 475"/>
                <a:gd name="T45" fmla="*/ 59 h 713"/>
                <a:gd name="T46" fmla="*/ 434 w 475"/>
                <a:gd name="T47" fmla="*/ 95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5" h="713">
                  <a:moveTo>
                    <a:pt x="434" y="95"/>
                  </a:moveTo>
                  <a:cubicBezTo>
                    <a:pt x="437" y="98"/>
                    <a:pt x="441" y="98"/>
                    <a:pt x="443" y="94"/>
                  </a:cubicBezTo>
                  <a:cubicBezTo>
                    <a:pt x="475" y="30"/>
                    <a:pt x="475" y="30"/>
                    <a:pt x="475" y="30"/>
                  </a:cubicBezTo>
                  <a:cubicBezTo>
                    <a:pt x="436" y="12"/>
                    <a:pt x="368" y="0"/>
                    <a:pt x="308" y="0"/>
                  </a:cubicBezTo>
                  <a:cubicBezTo>
                    <a:pt x="170" y="0"/>
                    <a:pt x="70" y="72"/>
                    <a:pt x="70" y="225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6" y="274"/>
                    <a:pt x="6" y="274"/>
                    <a:pt x="6" y="274"/>
                  </a:cubicBezTo>
                  <a:cubicBezTo>
                    <a:pt x="3" y="274"/>
                    <a:pt x="0" y="276"/>
                    <a:pt x="0" y="280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3" y="324"/>
                    <a:pt x="6" y="324"/>
                  </a:cubicBezTo>
                  <a:cubicBezTo>
                    <a:pt x="71" y="324"/>
                    <a:pt x="71" y="324"/>
                    <a:pt x="71" y="324"/>
                  </a:cubicBezTo>
                  <a:cubicBezTo>
                    <a:pt x="71" y="707"/>
                    <a:pt x="71" y="707"/>
                    <a:pt x="71" y="707"/>
                  </a:cubicBezTo>
                  <a:cubicBezTo>
                    <a:pt x="71" y="710"/>
                    <a:pt x="73" y="713"/>
                    <a:pt x="77" y="713"/>
                  </a:cubicBezTo>
                  <a:cubicBezTo>
                    <a:pt x="164" y="713"/>
                    <a:pt x="164" y="713"/>
                    <a:pt x="164" y="713"/>
                  </a:cubicBezTo>
                  <a:cubicBezTo>
                    <a:pt x="167" y="713"/>
                    <a:pt x="168" y="710"/>
                    <a:pt x="168" y="707"/>
                  </a:cubicBezTo>
                  <a:cubicBezTo>
                    <a:pt x="168" y="324"/>
                    <a:pt x="168" y="324"/>
                    <a:pt x="168" y="324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93" y="324"/>
                    <a:pt x="295" y="322"/>
                    <a:pt x="297" y="318"/>
                  </a:cubicBezTo>
                  <a:cubicBezTo>
                    <a:pt x="316" y="280"/>
                    <a:pt x="316" y="280"/>
                    <a:pt x="316" y="280"/>
                  </a:cubicBezTo>
                  <a:cubicBezTo>
                    <a:pt x="317" y="276"/>
                    <a:pt x="314" y="274"/>
                    <a:pt x="310" y="274"/>
                  </a:cubicBezTo>
                  <a:cubicBezTo>
                    <a:pt x="168" y="274"/>
                    <a:pt x="168" y="274"/>
                    <a:pt x="168" y="274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134"/>
                    <a:pt x="200" y="59"/>
                    <a:pt x="311" y="59"/>
                  </a:cubicBezTo>
                  <a:cubicBezTo>
                    <a:pt x="362" y="59"/>
                    <a:pt x="404" y="75"/>
                    <a:pt x="434" y="95"/>
                  </a:cubicBezTo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63" name="Freeform 29"/>
            <p:cNvSpPr>
              <a:spLocks/>
            </p:cNvSpPr>
            <p:nvPr userDrawn="1"/>
          </p:nvSpPr>
          <p:spPr bwMode="auto">
            <a:xfrm>
              <a:off x="8636436" y="6550546"/>
              <a:ext cx="108949" cy="91072"/>
            </a:xfrm>
            <a:custGeom>
              <a:avLst/>
              <a:gdLst>
                <a:gd name="T0" fmla="*/ 466 w 560"/>
                <a:gd name="T1" fmla="*/ 446 h 467"/>
                <a:gd name="T2" fmla="*/ 495 w 560"/>
                <a:gd name="T3" fmla="*/ 391 h 467"/>
                <a:gd name="T4" fmla="*/ 489 w 560"/>
                <a:gd name="T5" fmla="*/ 384 h 467"/>
                <a:gd name="T6" fmla="*/ 324 w 560"/>
                <a:gd name="T7" fmla="*/ 407 h 467"/>
                <a:gd name="T8" fmla="*/ 111 w 560"/>
                <a:gd name="T9" fmla="*/ 235 h 467"/>
                <a:gd name="T10" fmla="*/ 285 w 560"/>
                <a:gd name="T11" fmla="*/ 56 h 467"/>
                <a:gd name="T12" fmla="*/ 439 w 560"/>
                <a:gd name="T13" fmla="*/ 207 h 467"/>
                <a:gd name="T14" fmla="*/ 172 w 560"/>
                <a:gd name="T15" fmla="*/ 207 h 467"/>
                <a:gd name="T16" fmla="*/ 165 w 560"/>
                <a:gd name="T17" fmla="*/ 213 h 467"/>
                <a:gd name="T18" fmla="*/ 165 w 560"/>
                <a:gd name="T19" fmla="*/ 250 h 467"/>
                <a:gd name="T20" fmla="*/ 172 w 560"/>
                <a:gd name="T21" fmla="*/ 256 h 467"/>
                <a:gd name="T22" fmla="*/ 535 w 560"/>
                <a:gd name="T23" fmla="*/ 256 h 467"/>
                <a:gd name="T24" fmla="*/ 547 w 560"/>
                <a:gd name="T25" fmla="*/ 248 h 467"/>
                <a:gd name="T26" fmla="*/ 285 w 560"/>
                <a:gd name="T27" fmla="*/ 0 h 467"/>
                <a:gd name="T28" fmla="*/ 0 w 560"/>
                <a:gd name="T29" fmla="*/ 235 h 467"/>
                <a:gd name="T30" fmla="*/ 308 w 560"/>
                <a:gd name="T31" fmla="*/ 467 h 467"/>
                <a:gd name="T32" fmla="*/ 466 w 560"/>
                <a:gd name="T33" fmla="*/ 446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0" h="467">
                  <a:moveTo>
                    <a:pt x="466" y="446"/>
                  </a:moveTo>
                  <a:cubicBezTo>
                    <a:pt x="495" y="391"/>
                    <a:pt x="495" y="391"/>
                    <a:pt x="495" y="391"/>
                  </a:cubicBezTo>
                  <a:cubicBezTo>
                    <a:pt x="497" y="386"/>
                    <a:pt x="494" y="382"/>
                    <a:pt x="489" y="384"/>
                  </a:cubicBezTo>
                  <a:cubicBezTo>
                    <a:pt x="453" y="395"/>
                    <a:pt x="401" y="407"/>
                    <a:pt x="324" y="407"/>
                  </a:cubicBezTo>
                  <a:cubicBezTo>
                    <a:pt x="183" y="407"/>
                    <a:pt x="111" y="345"/>
                    <a:pt x="111" y="235"/>
                  </a:cubicBezTo>
                  <a:cubicBezTo>
                    <a:pt x="111" y="119"/>
                    <a:pt x="172" y="56"/>
                    <a:pt x="285" y="56"/>
                  </a:cubicBezTo>
                  <a:cubicBezTo>
                    <a:pt x="395" y="56"/>
                    <a:pt x="445" y="133"/>
                    <a:pt x="439" y="207"/>
                  </a:cubicBezTo>
                  <a:cubicBezTo>
                    <a:pt x="172" y="207"/>
                    <a:pt x="172" y="207"/>
                    <a:pt x="172" y="207"/>
                  </a:cubicBezTo>
                  <a:cubicBezTo>
                    <a:pt x="168" y="207"/>
                    <a:pt x="165" y="210"/>
                    <a:pt x="165" y="213"/>
                  </a:cubicBezTo>
                  <a:cubicBezTo>
                    <a:pt x="165" y="250"/>
                    <a:pt x="165" y="250"/>
                    <a:pt x="165" y="250"/>
                  </a:cubicBezTo>
                  <a:cubicBezTo>
                    <a:pt x="165" y="254"/>
                    <a:pt x="166" y="256"/>
                    <a:pt x="172" y="256"/>
                  </a:cubicBezTo>
                  <a:cubicBezTo>
                    <a:pt x="535" y="256"/>
                    <a:pt x="535" y="256"/>
                    <a:pt x="535" y="256"/>
                  </a:cubicBezTo>
                  <a:cubicBezTo>
                    <a:pt x="542" y="256"/>
                    <a:pt x="546" y="255"/>
                    <a:pt x="547" y="248"/>
                  </a:cubicBezTo>
                  <a:cubicBezTo>
                    <a:pt x="560" y="120"/>
                    <a:pt x="479" y="0"/>
                    <a:pt x="285" y="0"/>
                  </a:cubicBezTo>
                  <a:cubicBezTo>
                    <a:pt x="110" y="0"/>
                    <a:pt x="0" y="100"/>
                    <a:pt x="0" y="235"/>
                  </a:cubicBezTo>
                  <a:cubicBezTo>
                    <a:pt x="0" y="390"/>
                    <a:pt x="110" y="467"/>
                    <a:pt x="308" y="467"/>
                  </a:cubicBezTo>
                  <a:cubicBezTo>
                    <a:pt x="373" y="467"/>
                    <a:pt x="428" y="459"/>
                    <a:pt x="466" y="446"/>
                  </a:cubicBezTo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64" name="Freeform 30"/>
            <p:cNvSpPr>
              <a:spLocks/>
            </p:cNvSpPr>
            <p:nvPr userDrawn="1"/>
          </p:nvSpPr>
          <p:spPr bwMode="auto">
            <a:xfrm>
              <a:off x="8142287" y="6550546"/>
              <a:ext cx="103102" cy="90659"/>
            </a:xfrm>
            <a:custGeom>
              <a:avLst/>
              <a:gdLst>
                <a:gd name="T0" fmla="*/ 289 w 530"/>
                <a:gd name="T1" fmla="*/ 0 h 465"/>
                <a:gd name="T2" fmla="*/ 0 w 530"/>
                <a:gd name="T3" fmla="*/ 232 h 465"/>
                <a:gd name="T4" fmla="*/ 278 w 530"/>
                <a:gd name="T5" fmla="*/ 465 h 465"/>
                <a:gd name="T6" fmla="*/ 355 w 530"/>
                <a:gd name="T7" fmla="*/ 458 h 465"/>
                <a:gd name="T8" fmla="*/ 383 w 530"/>
                <a:gd name="T9" fmla="*/ 402 h 465"/>
                <a:gd name="T10" fmla="*/ 376 w 530"/>
                <a:gd name="T11" fmla="*/ 391 h 465"/>
                <a:gd name="T12" fmla="*/ 276 w 530"/>
                <a:gd name="T13" fmla="*/ 406 h 465"/>
                <a:gd name="T14" fmla="*/ 110 w 530"/>
                <a:gd name="T15" fmla="*/ 232 h 465"/>
                <a:gd name="T16" fmla="*/ 288 w 530"/>
                <a:gd name="T17" fmla="*/ 58 h 465"/>
                <a:gd name="T18" fmla="*/ 466 w 530"/>
                <a:gd name="T19" fmla="*/ 174 h 465"/>
                <a:gd name="T20" fmla="*/ 479 w 530"/>
                <a:gd name="T21" fmla="*/ 174 h 465"/>
                <a:gd name="T22" fmla="*/ 530 w 530"/>
                <a:gd name="T23" fmla="*/ 75 h 465"/>
                <a:gd name="T24" fmla="*/ 289 w 530"/>
                <a:gd name="T25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0" h="465">
                  <a:moveTo>
                    <a:pt x="289" y="0"/>
                  </a:moveTo>
                  <a:cubicBezTo>
                    <a:pt x="96" y="0"/>
                    <a:pt x="0" y="99"/>
                    <a:pt x="0" y="232"/>
                  </a:cubicBezTo>
                  <a:cubicBezTo>
                    <a:pt x="0" y="358"/>
                    <a:pt x="86" y="465"/>
                    <a:pt x="278" y="465"/>
                  </a:cubicBezTo>
                  <a:cubicBezTo>
                    <a:pt x="306" y="465"/>
                    <a:pt x="332" y="462"/>
                    <a:pt x="355" y="458"/>
                  </a:cubicBezTo>
                  <a:cubicBezTo>
                    <a:pt x="383" y="402"/>
                    <a:pt x="383" y="402"/>
                    <a:pt x="383" y="402"/>
                  </a:cubicBezTo>
                  <a:cubicBezTo>
                    <a:pt x="387" y="393"/>
                    <a:pt x="380" y="391"/>
                    <a:pt x="376" y="391"/>
                  </a:cubicBezTo>
                  <a:cubicBezTo>
                    <a:pt x="348" y="399"/>
                    <a:pt x="323" y="406"/>
                    <a:pt x="276" y="406"/>
                  </a:cubicBezTo>
                  <a:cubicBezTo>
                    <a:pt x="182" y="406"/>
                    <a:pt x="110" y="349"/>
                    <a:pt x="110" y="232"/>
                  </a:cubicBezTo>
                  <a:cubicBezTo>
                    <a:pt x="110" y="123"/>
                    <a:pt x="179" y="58"/>
                    <a:pt x="288" y="58"/>
                  </a:cubicBezTo>
                  <a:cubicBezTo>
                    <a:pt x="385" y="58"/>
                    <a:pt x="443" y="109"/>
                    <a:pt x="466" y="174"/>
                  </a:cubicBezTo>
                  <a:cubicBezTo>
                    <a:pt x="467" y="180"/>
                    <a:pt x="476" y="179"/>
                    <a:pt x="479" y="174"/>
                  </a:cubicBezTo>
                  <a:cubicBezTo>
                    <a:pt x="530" y="75"/>
                    <a:pt x="530" y="75"/>
                    <a:pt x="530" y="75"/>
                  </a:cubicBezTo>
                  <a:cubicBezTo>
                    <a:pt x="480" y="36"/>
                    <a:pt x="397" y="0"/>
                    <a:pt x="289" y="0"/>
                  </a:cubicBezTo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65" name="Freeform 31"/>
            <p:cNvSpPr>
              <a:spLocks/>
            </p:cNvSpPr>
            <p:nvPr userDrawn="1"/>
          </p:nvSpPr>
          <p:spPr bwMode="auto">
            <a:xfrm>
              <a:off x="8537606" y="6550734"/>
              <a:ext cx="91034" cy="90659"/>
            </a:xfrm>
            <a:custGeom>
              <a:avLst/>
              <a:gdLst>
                <a:gd name="T0" fmla="*/ 109 w 468"/>
                <a:gd name="T1" fmla="*/ 232 h 465"/>
                <a:gd name="T2" fmla="*/ 287 w 468"/>
                <a:gd name="T3" fmla="*/ 405 h 465"/>
                <a:gd name="T4" fmla="*/ 406 w 468"/>
                <a:gd name="T5" fmla="*/ 386 h 465"/>
                <a:gd name="T6" fmla="*/ 413 w 468"/>
                <a:gd name="T7" fmla="*/ 392 h 465"/>
                <a:gd name="T8" fmla="*/ 382 w 468"/>
                <a:gd name="T9" fmla="*/ 450 h 465"/>
                <a:gd name="T10" fmla="*/ 278 w 468"/>
                <a:gd name="T11" fmla="*/ 465 h 465"/>
                <a:gd name="T12" fmla="*/ 0 w 468"/>
                <a:gd name="T13" fmla="*/ 232 h 465"/>
                <a:gd name="T14" fmla="*/ 278 w 468"/>
                <a:gd name="T15" fmla="*/ 0 h 465"/>
                <a:gd name="T16" fmla="*/ 468 w 468"/>
                <a:gd name="T17" fmla="*/ 45 h 465"/>
                <a:gd name="T18" fmla="*/ 435 w 468"/>
                <a:gd name="T19" fmla="*/ 107 h 465"/>
                <a:gd name="T20" fmla="*/ 425 w 468"/>
                <a:gd name="T21" fmla="*/ 107 h 465"/>
                <a:gd name="T22" fmla="*/ 287 w 468"/>
                <a:gd name="T23" fmla="*/ 60 h 465"/>
                <a:gd name="T24" fmla="*/ 109 w 468"/>
                <a:gd name="T25" fmla="*/ 232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8" h="465">
                  <a:moveTo>
                    <a:pt x="109" y="232"/>
                  </a:moveTo>
                  <a:cubicBezTo>
                    <a:pt x="109" y="343"/>
                    <a:pt x="186" y="405"/>
                    <a:pt x="287" y="405"/>
                  </a:cubicBezTo>
                  <a:cubicBezTo>
                    <a:pt x="330" y="405"/>
                    <a:pt x="363" y="402"/>
                    <a:pt x="406" y="386"/>
                  </a:cubicBezTo>
                  <a:cubicBezTo>
                    <a:pt x="411" y="384"/>
                    <a:pt x="416" y="386"/>
                    <a:pt x="413" y="392"/>
                  </a:cubicBezTo>
                  <a:cubicBezTo>
                    <a:pt x="382" y="450"/>
                    <a:pt x="382" y="450"/>
                    <a:pt x="382" y="450"/>
                  </a:cubicBezTo>
                  <a:cubicBezTo>
                    <a:pt x="346" y="462"/>
                    <a:pt x="319" y="465"/>
                    <a:pt x="278" y="465"/>
                  </a:cubicBezTo>
                  <a:cubicBezTo>
                    <a:pt x="101" y="465"/>
                    <a:pt x="0" y="365"/>
                    <a:pt x="0" y="232"/>
                  </a:cubicBezTo>
                  <a:cubicBezTo>
                    <a:pt x="0" y="100"/>
                    <a:pt x="101" y="0"/>
                    <a:pt x="278" y="0"/>
                  </a:cubicBezTo>
                  <a:cubicBezTo>
                    <a:pt x="364" y="0"/>
                    <a:pt x="433" y="23"/>
                    <a:pt x="468" y="45"/>
                  </a:cubicBezTo>
                  <a:cubicBezTo>
                    <a:pt x="435" y="107"/>
                    <a:pt x="435" y="107"/>
                    <a:pt x="435" y="107"/>
                  </a:cubicBezTo>
                  <a:cubicBezTo>
                    <a:pt x="433" y="111"/>
                    <a:pt x="429" y="111"/>
                    <a:pt x="425" y="107"/>
                  </a:cubicBezTo>
                  <a:cubicBezTo>
                    <a:pt x="396" y="78"/>
                    <a:pt x="344" y="60"/>
                    <a:pt x="287" y="60"/>
                  </a:cubicBezTo>
                  <a:cubicBezTo>
                    <a:pt x="186" y="60"/>
                    <a:pt x="109" y="122"/>
                    <a:pt x="109" y="232"/>
                  </a:cubicBezTo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66" name="Freeform 32"/>
            <p:cNvSpPr>
              <a:spLocks/>
            </p:cNvSpPr>
            <p:nvPr userDrawn="1"/>
          </p:nvSpPr>
          <p:spPr bwMode="auto">
            <a:xfrm>
              <a:off x="8230810" y="6550546"/>
              <a:ext cx="102915" cy="90659"/>
            </a:xfrm>
            <a:custGeom>
              <a:avLst/>
              <a:gdLst>
                <a:gd name="T0" fmla="*/ 242 w 529"/>
                <a:gd name="T1" fmla="*/ 407 h 465"/>
                <a:gd name="T2" fmla="*/ 64 w 529"/>
                <a:gd name="T3" fmla="*/ 291 h 465"/>
                <a:gd name="T4" fmla="*/ 51 w 529"/>
                <a:gd name="T5" fmla="*/ 291 h 465"/>
                <a:gd name="T6" fmla="*/ 0 w 529"/>
                <a:gd name="T7" fmla="*/ 390 h 465"/>
                <a:gd name="T8" fmla="*/ 240 w 529"/>
                <a:gd name="T9" fmla="*/ 465 h 465"/>
                <a:gd name="T10" fmla="*/ 529 w 529"/>
                <a:gd name="T11" fmla="*/ 233 h 465"/>
                <a:gd name="T12" fmla="*/ 252 w 529"/>
                <a:gd name="T13" fmla="*/ 0 h 465"/>
                <a:gd name="T14" fmla="*/ 174 w 529"/>
                <a:gd name="T15" fmla="*/ 7 h 465"/>
                <a:gd name="T16" fmla="*/ 146 w 529"/>
                <a:gd name="T17" fmla="*/ 63 h 465"/>
                <a:gd name="T18" fmla="*/ 154 w 529"/>
                <a:gd name="T19" fmla="*/ 74 h 465"/>
                <a:gd name="T20" fmla="*/ 254 w 529"/>
                <a:gd name="T21" fmla="*/ 59 h 465"/>
                <a:gd name="T22" fmla="*/ 419 w 529"/>
                <a:gd name="T23" fmla="*/ 233 h 465"/>
                <a:gd name="T24" fmla="*/ 242 w 529"/>
                <a:gd name="T25" fmla="*/ 40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9" h="465">
                  <a:moveTo>
                    <a:pt x="242" y="407"/>
                  </a:moveTo>
                  <a:cubicBezTo>
                    <a:pt x="144" y="407"/>
                    <a:pt x="87" y="356"/>
                    <a:pt x="64" y="291"/>
                  </a:cubicBezTo>
                  <a:cubicBezTo>
                    <a:pt x="62" y="285"/>
                    <a:pt x="54" y="286"/>
                    <a:pt x="51" y="291"/>
                  </a:cubicBezTo>
                  <a:cubicBezTo>
                    <a:pt x="0" y="390"/>
                    <a:pt x="0" y="390"/>
                    <a:pt x="0" y="390"/>
                  </a:cubicBezTo>
                  <a:cubicBezTo>
                    <a:pt x="50" y="429"/>
                    <a:pt x="133" y="465"/>
                    <a:pt x="240" y="465"/>
                  </a:cubicBezTo>
                  <a:cubicBezTo>
                    <a:pt x="434" y="465"/>
                    <a:pt x="529" y="366"/>
                    <a:pt x="529" y="233"/>
                  </a:cubicBezTo>
                  <a:cubicBezTo>
                    <a:pt x="529" y="107"/>
                    <a:pt x="443" y="0"/>
                    <a:pt x="252" y="0"/>
                  </a:cubicBezTo>
                  <a:cubicBezTo>
                    <a:pt x="224" y="0"/>
                    <a:pt x="198" y="3"/>
                    <a:pt x="174" y="7"/>
                  </a:cubicBezTo>
                  <a:cubicBezTo>
                    <a:pt x="146" y="63"/>
                    <a:pt x="146" y="63"/>
                    <a:pt x="146" y="63"/>
                  </a:cubicBezTo>
                  <a:cubicBezTo>
                    <a:pt x="143" y="72"/>
                    <a:pt x="149" y="74"/>
                    <a:pt x="154" y="74"/>
                  </a:cubicBezTo>
                  <a:cubicBezTo>
                    <a:pt x="182" y="66"/>
                    <a:pt x="207" y="59"/>
                    <a:pt x="254" y="59"/>
                  </a:cubicBezTo>
                  <a:cubicBezTo>
                    <a:pt x="347" y="59"/>
                    <a:pt x="419" y="116"/>
                    <a:pt x="419" y="233"/>
                  </a:cubicBezTo>
                  <a:cubicBezTo>
                    <a:pt x="419" y="342"/>
                    <a:pt x="350" y="407"/>
                    <a:pt x="242" y="407"/>
                  </a:cubicBezTo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2055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91" r:id="rId9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5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2880" userDrawn="1">
          <p15:clr>
            <a:srgbClr val="F26B43"/>
          </p15:clr>
        </p15:guide>
        <p15:guide id="2" userDrawn="1">
          <p15:clr>
            <a:srgbClr val="F26B43"/>
          </p15:clr>
        </p15:guide>
        <p15:guide id="3" pos="5760" userDrawn="1">
          <p15:clr>
            <a:srgbClr val="F26B43"/>
          </p15:clr>
        </p15:guide>
        <p15:guide id="4" orient="horz" pos="2160" userDrawn="1">
          <p15:clr>
            <a:srgbClr val="F26B43"/>
          </p15:clr>
        </p15:guide>
        <p15:guide id="5" orient="horz" userDrawn="1">
          <p15:clr>
            <a:srgbClr val="F26B43"/>
          </p15:clr>
        </p15:guide>
        <p15:guide id="6" orient="horz" pos="4320" userDrawn="1">
          <p15:clr>
            <a:srgbClr val="F26B43"/>
          </p15:clr>
        </p15:guide>
        <p15:guide id="7" pos="249" userDrawn="1">
          <p15:clr>
            <a:srgbClr val="F26B43"/>
          </p15:clr>
        </p15:guide>
        <p15:guide id="8" pos="5511" userDrawn="1">
          <p15:clr>
            <a:srgbClr val="F26B43"/>
          </p15:clr>
        </p15:guide>
        <p15:guide id="9" pos="509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56000">
              <a:schemeClr val="bg1"/>
            </a:gs>
            <a:gs pos="100000">
              <a:schemeClr val="bg2">
                <a:lumMod val="20000"/>
                <a:lumOff val="8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95288" y="254000"/>
            <a:ext cx="7688262" cy="43858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95288" y="1356360"/>
            <a:ext cx="7688262" cy="48206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-213741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697072" y="6531309"/>
            <a:ext cx="4284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395288" y="6518709"/>
            <a:ext cx="148314" cy="148312"/>
          </a:xfrm>
          <a:prstGeom prst="rect">
            <a:avLst/>
          </a:prstGeom>
          <a:solidFill>
            <a:schemeClr val="bg2"/>
          </a:solidFill>
        </p:spPr>
        <p:txBody>
          <a:bodyPr vert="horz" wrap="none" lIns="91440" tIns="45720" rIns="91440" bIns="45720" rtlCol="0" anchor="ctr"/>
          <a:lstStyle>
            <a:lvl1pPr algn="ctr">
              <a:defRPr sz="800" b="1">
                <a:solidFill>
                  <a:schemeClr val="bg1"/>
                </a:solidFill>
              </a:defRPr>
            </a:lvl1pPr>
          </a:lstStyle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‹#›</a:t>
            </a:fld>
            <a:endParaRPr lang="fr-FR" dirty="0">
              <a:solidFill>
                <a:prstClr val="white"/>
              </a:solidFill>
            </a:endParaRPr>
          </a:p>
        </p:txBody>
      </p:sp>
      <p:grpSp>
        <p:nvGrpSpPr>
          <p:cNvPr id="7" name="Groupe 6"/>
          <p:cNvGrpSpPr/>
          <p:nvPr userDrawn="1"/>
        </p:nvGrpSpPr>
        <p:grpSpPr>
          <a:xfrm>
            <a:off x="8142287" y="6500813"/>
            <a:ext cx="603098" cy="140805"/>
            <a:chOff x="8142287" y="6500813"/>
            <a:chExt cx="603098" cy="140805"/>
          </a:xfrm>
        </p:grpSpPr>
        <p:sp>
          <p:nvSpPr>
            <p:cNvPr id="61" name="Freeform 27"/>
            <p:cNvSpPr>
              <a:spLocks/>
            </p:cNvSpPr>
            <p:nvPr userDrawn="1"/>
          </p:nvSpPr>
          <p:spPr bwMode="auto">
            <a:xfrm>
              <a:off x="8411342" y="6550734"/>
              <a:ext cx="107974" cy="90659"/>
            </a:xfrm>
            <a:custGeom>
              <a:avLst/>
              <a:gdLst>
                <a:gd name="T0" fmla="*/ 550 w 555"/>
                <a:gd name="T1" fmla="*/ 457 h 465"/>
                <a:gd name="T2" fmla="*/ 555 w 555"/>
                <a:gd name="T3" fmla="*/ 451 h 465"/>
                <a:gd name="T4" fmla="*/ 555 w 555"/>
                <a:gd name="T5" fmla="*/ 254 h 465"/>
                <a:gd name="T6" fmla="*/ 277 w 555"/>
                <a:gd name="T7" fmla="*/ 0 h 465"/>
                <a:gd name="T8" fmla="*/ 0 w 555"/>
                <a:gd name="T9" fmla="*/ 241 h 465"/>
                <a:gd name="T10" fmla="*/ 264 w 555"/>
                <a:gd name="T11" fmla="*/ 465 h 465"/>
                <a:gd name="T12" fmla="*/ 344 w 555"/>
                <a:gd name="T13" fmla="*/ 457 h 465"/>
                <a:gd name="T14" fmla="*/ 362 w 555"/>
                <a:gd name="T15" fmla="*/ 399 h 465"/>
                <a:gd name="T16" fmla="*/ 355 w 555"/>
                <a:gd name="T17" fmla="*/ 390 h 465"/>
                <a:gd name="T18" fmla="*/ 272 w 555"/>
                <a:gd name="T19" fmla="*/ 405 h 465"/>
                <a:gd name="T20" fmla="*/ 110 w 555"/>
                <a:gd name="T21" fmla="*/ 240 h 465"/>
                <a:gd name="T22" fmla="*/ 281 w 555"/>
                <a:gd name="T23" fmla="*/ 60 h 465"/>
                <a:gd name="T24" fmla="*/ 447 w 555"/>
                <a:gd name="T25" fmla="*/ 252 h 465"/>
                <a:gd name="T26" fmla="*/ 447 w 555"/>
                <a:gd name="T27" fmla="*/ 451 h 465"/>
                <a:gd name="T28" fmla="*/ 452 w 555"/>
                <a:gd name="T29" fmla="*/ 457 h 465"/>
                <a:gd name="T30" fmla="*/ 550 w 555"/>
                <a:gd name="T31" fmla="*/ 45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5" h="465">
                  <a:moveTo>
                    <a:pt x="550" y="457"/>
                  </a:moveTo>
                  <a:cubicBezTo>
                    <a:pt x="555" y="457"/>
                    <a:pt x="555" y="454"/>
                    <a:pt x="555" y="451"/>
                  </a:cubicBezTo>
                  <a:cubicBezTo>
                    <a:pt x="555" y="254"/>
                    <a:pt x="555" y="254"/>
                    <a:pt x="555" y="254"/>
                  </a:cubicBezTo>
                  <a:cubicBezTo>
                    <a:pt x="555" y="112"/>
                    <a:pt x="481" y="0"/>
                    <a:pt x="277" y="0"/>
                  </a:cubicBezTo>
                  <a:cubicBezTo>
                    <a:pt x="115" y="0"/>
                    <a:pt x="0" y="91"/>
                    <a:pt x="0" y="241"/>
                  </a:cubicBezTo>
                  <a:cubicBezTo>
                    <a:pt x="0" y="362"/>
                    <a:pt x="73" y="465"/>
                    <a:pt x="264" y="465"/>
                  </a:cubicBezTo>
                  <a:cubicBezTo>
                    <a:pt x="292" y="465"/>
                    <a:pt x="319" y="462"/>
                    <a:pt x="344" y="457"/>
                  </a:cubicBezTo>
                  <a:cubicBezTo>
                    <a:pt x="362" y="399"/>
                    <a:pt x="362" y="399"/>
                    <a:pt x="362" y="399"/>
                  </a:cubicBezTo>
                  <a:cubicBezTo>
                    <a:pt x="364" y="392"/>
                    <a:pt x="360" y="389"/>
                    <a:pt x="355" y="390"/>
                  </a:cubicBezTo>
                  <a:cubicBezTo>
                    <a:pt x="329" y="400"/>
                    <a:pt x="304" y="405"/>
                    <a:pt x="272" y="405"/>
                  </a:cubicBezTo>
                  <a:cubicBezTo>
                    <a:pt x="145" y="405"/>
                    <a:pt x="110" y="316"/>
                    <a:pt x="110" y="240"/>
                  </a:cubicBezTo>
                  <a:cubicBezTo>
                    <a:pt x="110" y="127"/>
                    <a:pt x="176" y="60"/>
                    <a:pt x="281" y="60"/>
                  </a:cubicBezTo>
                  <a:cubicBezTo>
                    <a:pt x="408" y="60"/>
                    <a:pt x="447" y="137"/>
                    <a:pt x="447" y="252"/>
                  </a:cubicBezTo>
                  <a:cubicBezTo>
                    <a:pt x="447" y="451"/>
                    <a:pt x="447" y="451"/>
                    <a:pt x="447" y="451"/>
                  </a:cubicBezTo>
                  <a:cubicBezTo>
                    <a:pt x="447" y="455"/>
                    <a:pt x="449" y="457"/>
                    <a:pt x="452" y="457"/>
                  </a:cubicBezTo>
                  <a:lnTo>
                    <a:pt x="550" y="457"/>
                  </a:lnTo>
                  <a:close/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62" name="Freeform 28"/>
            <p:cNvSpPr>
              <a:spLocks/>
            </p:cNvSpPr>
            <p:nvPr userDrawn="1"/>
          </p:nvSpPr>
          <p:spPr bwMode="auto">
            <a:xfrm>
              <a:off x="8343657" y="6500813"/>
              <a:ext cx="92384" cy="139044"/>
            </a:xfrm>
            <a:custGeom>
              <a:avLst/>
              <a:gdLst>
                <a:gd name="T0" fmla="*/ 434 w 475"/>
                <a:gd name="T1" fmla="*/ 95 h 713"/>
                <a:gd name="T2" fmla="*/ 443 w 475"/>
                <a:gd name="T3" fmla="*/ 94 h 713"/>
                <a:gd name="T4" fmla="*/ 475 w 475"/>
                <a:gd name="T5" fmla="*/ 30 h 713"/>
                <a:gd name="T6" fmla="*/ 308 w 475"/>
                <a:gd name="T7" fmla="*/ 0 h 713"/>
                <a:gd name="T8" fmla="*/ 70 w 475"/>
                <a:gd name="T9" fmla="*/ 225 h 713"/>
                <a:gd name="T10" fmla="*/ 70 w 475"/>
                <a:gd name="T11" fmla="*/ 274 h 713"/>
                <a:gd name="T12" fmla="*/ 6 w 475"/>
                <a:gd name="T13" fmla="*/ 274 h 713"/>
                <a:gd name="T14" fmla="*/ 0 w 475"/>
                <a:gd name="T15" fmla="*/ 280 h 713"/>
                <a:gd name="T16" fmla="*/ 0 w 475"/>
                <a:gd name="T17" fmla="*/ 318 h 713"/>
                <a:gd name="T18" fmla="*/ 6 w 475"/>
                <a:gd name="T19" fmla="*/ 324 h 713"/>
                <a:gd name="T20" fmla="*/ 71 w 475"/>
                <a:gd name="T21" fmla="*/ 324 h 713"/>
                <a:gd name="T22" fmla="*/ 71 w 475"/>
                <a:gd name="T23" fmla="*/ 707 h 713"/>
                <a:gd name="T24" fmla="*/ 77 w 475"/>
                <a:gd name="T25" fmla="*/ 713 h 713"/>
                <a:gd name="T26" fmla="*/ 164 w 475"/>
                <a:gd name="T27" fmla="*/ 713 h 713"/>
                <a:gd name="T28" fmla="*/ 168 w 475"/>
                <a:gd name="T29" fmla="*/ 707 h 713"/>
                <a:gd name="T30" fmla="*/ 168 w 475"/>
                <a:gd name="T31" fmla="*/ 324 h 713"/>
                <a:gd name="T32" fmla="*/ 288 w 475"/>
                <a:gd name="T33" fmla="*/ 324 h 713"/>
                <a:gd name="T34" fmla="*/ 297 w 475"/>
                <a:gd name="T35" fmla="*/ 318 h 713"/>
                <a:gd name="T36" fmla="*/ 316 w 475"/>
                <a:gd name="T37" fmla="*/ 280 h 713"/>
                <a:gd name="T38" fmla="*/ 310 w 475"/>
                <a:gd name="T39" fmla="*/ 274 h 713"/>
                <a:gd name="T40" fmla="*/ 168 w 475"/>
                <a:gd name="T41" fmla="*/ 274 h 713"/>
                <a:gd name="T42" fmla="*/ 168 w 475"/>
                <a:gd name="T43" fmla="*/ 211 h 713"/>
                <a:gd name="T44" fmla="*/ 311 w 475"/>
                <a:gd name="T45" fmla="*/ 59 h 713"/>
                <a:gd name="T46" fmla="*/ 434 w 475"/>
                <a:gd name="T47" fmla="*/ 95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5" h="713">
                  <a:moveTo>
                    <a:pt x="434" y="95"/>
                  </a:moveTo>
                  <a:cubicBezTo>
                    <a:pt x="437" y="98"/>
                    <a:pt x="441" y="98"/>
                    <a:pt x="443" y="94"/>
                  </a:cubicBezTo>
                  <a:cubicBezTo>
                    <a:pt x="475" y="30"/>
                    <a:pt x="475" y="30"/>
                    <a:pt x="475" y="30"/>
                  </a:cubicBezTo>
                  <a:cubicBezTo>
                    <a:pt x="436" y="12"/>
                    <a:pt x="368" y="0"/>
                    <a:pt x="308" y="0"/>
                  </a:cubicBezTo>
                  <a:cubicBezTo>
                    <a:pt x="170" y="0"/>
                    <a:pt x="70" y="72"/>
                    <a:pt x="70" y="225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6" y="274"/>
                    <a:pt x="6" y="274"/>
                    <a:pt x="6" y="274"/>
                  </a:cubicBezTo>
                  <a:cubicBezTo>
                    <a:pt x="3" y="274"/>
                    <a:pt x="0" y="276"/>
                    <a:pt x="0" y="280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3" y="324"/>
                    <a:pt x="6" y="324"/>
                  </a:cubicBezTo>
                  <a:cubicBezTo>
                    <a:pt x="71" y="324"/>
                    <a:pt x="71" y="324"/>
                    <a:pt x="71" y="324"/>
                  </a:cubicBezTo>
                  <a:cubicBezTo>
                    <a:pt x="71" y="707"/>
                    <a:pt x="71" y="707"/>
                    <a:pt x="71" y="707"/>
                  </a:cubicBezTo>
                  <a:cubicBezTo>
                    <a:pt x="71" y="710"/>
                    <a:pt x="73" y="713"/>
                    <a:pt x="77" y="713"/>
                  </a:cubicBezTo>
                  <a:cubicBezTo>
                    <a:pt x="164" y="713"/>
                    <a:pt x="164" y="713"/>
                    <a:pt x="164" y="713"/>
                  </a:cubicBezTo>
                  <a:cubicBezTo>
                    <a:pt x="167" y="713"/>
                    <a:pt x="168" y="710"/>
                    <a:pt x="168" y="707"/>
                  </a:cubicBezTo>
                  <a:cubicBezTo>
                    <a:pt x="168" y="324"/>
                    <a:pt x="168" y="324"/>
                    <a:pt x="168" y="324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93" y="324"/>
                    <a:pt x="295" y="322"/>
                    <a:pt x="297" y="318"/>
                  </a:cubicBezTo>
                  <a:cubicBezTo>
                    <a:pt x="316" y="280"/>
                    <a:pt x="316" y="280"/>
                    <a:pt x="316" y="280"/>
                  </a:cubicBezTo>
                  <a:cubicBezTo>
                    <a:pt x="317" y="276"/>
                    <a:pt x="314" y="274"/>
                    <a:pt x="310" y="274"/>
                  </a:cubicBezTo>
                  <a:cubicBezTo>
                    <a:pt x="168" y="274"/>
                    <a:pt x="168" y="274"/>
                    <a:pt x="168" y="274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134"/>
                    <a:pt x="200" y="59"/>
                    <a:pt x="311" y="59"/>
                  </a:cubicBezTo>
                  <a:cubicBezTo>
                    <a:pt x="362" y="59"/>
                    <a:pt x="404" y="75"/>
                    <a:pt x="434" y="95"/>
                  </a:cubicBezTo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63" name="Freeform 29"/>
            <p:cNvSpPr>
              <a:spLocks/>
            </p:cNvSpPr>
            <p:nvPr userDrawn="1"/>
          </p:nvSpPr>
          <p:spPr bwMode="auto">
            <a:xfrm>
              <a:off x="8636436" y="6550546"/>
              <a:ext cx="108949" cy="91072"/>
            </a:xfrm>
            <a:custGeom>
              <a:avLst/>
              <a:gdLst>
                <a:gd name="T0" fmla="*/ 466 w 560"/>
                <a:gd name="T1" fmla="*/ 446 h 467"/>
                <a:gd name="T2" fmla="*/ 495 w 560"/>
                <a:gd name="T3" fmla="*/ 391 h 467"/>
                <a:gd name="T4" fmla="*/ 489 w 560"/>
                <a:gd name="T5" fmla="*/ 384 h 467"/>
                <a:gd name="T6" fmla="*/ 324 w 560"/>
                <a:gd name="T7" fmla="*/ 407 h 467"/>
                <a:gd name="T8" fmla="*/ 111 w 560"/>
                <a:gd name="T9" fmla="*/ 235 h 467"/>
                <a:gd name="T10" fmla="*/ 285 w 560"/>
                <a:gd name="T11" fmla="*/ 56 h 467"/>
                <a:gd name="T12" fmla="*/ 439 w 560"/>
                <a:gd name="T13" fmla="*/ 207 h 467"/>
                <a:gd name="T14" fmla="*/ 172 w 560"/>
                <a:gd name="T15" fmla="*/ 207 h 467"/>
                <a:gd name="T16" fmla="*/ 165 w 560"/>
                <a:gd name="T17" fmla="*/ 213 h 467"/>
                <a:gd name="T18" fmla="*/ 165 w 560"/>
                <a:gd name="T19" fmla="*/ 250 h 467"/>
                <a:gd name="T20" fmla="*/ 172 w 560"/>
                <a:gd name="T21" fmla="*/ 256 h 467"/>
                <a:gd name="T22" fmla="*/ 535 w 560"/>
                <a:gd name="T23" fmla="*/ 256 h 467"/>
                <a:gd name="T24" fmla="*/ 547 w 560"/>
                <a:gd name="T25" fmla="*/ 248 h 467"/>
                <a:gd name="T26" fmla="*/ 285 w 560"/>
                <a:gd name="T27" fmla="*/ 0 h 467"/>
                <a:gd name="T28" fmla="*/ 0 w 560"/>
                <a:gd name="T29" fmla="*/ 235 h 467"/>
                <a:gd name="T30" fmla="*/ 308 w 560"/>
                <a:gd name="T31" fmla="*/ 467 h 467"/>
                <a:gd name="T32" fmla="*/ 466 w 560"/>
                <a:gd name="T33" fmla="*/ 446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60" h="467">
                  <a:moveTo>
                    <a:pt x="466" y="446"/>
                  </a:moveTo>
                  <a:cubicBezTo>
                    <a:pt x="495" y="391"/>
                    <a:pt x="495" y="391"/>
                    <a:pt x="495" y="391"/>
                  </a:cubicBezTo>
                  <a:cubicBezTo>
                    <a:pt x="497" y="386"/>
                    <a:pt x="494" y="382"/>
                    <a:pt x="489" y="384"/>
                  </a:cubicBezTo>
                  <a:cubicBezTo>
                    <a:pt x="453" y="395"/>
                    <a:pt x="401" y="407"/>
                    <a:pt x="324" y="407"/>
                  </a:cubicBezTo>
                  <a:cubicBezTo>
                    <a:pt x="183" y="407"/>
                    <a:pt x="111" y="345"/>
                    <a:pt x="111" y="235"/>
                  </a:cubicBezTo>
                  <a:cubicBezTo>
                    <a:pt x="111" y="119"/>
                    <a:pt x="172" y="56"/>
                    <a:pt x="285" y="56"/>
                  </a:cubicBezTo>
                  <a:cubicBezTo>
                    <a:pt x="395" y="56"/>
                    <a:pt x="445" y="133"/>
                    <a:pt x="439" y="207"/>
                  </a:cubicBezTo>
                  <a:cubicBezTo>
                    <a:pt x="172" y="207"/>
                    <a:pt x="172" y="207"/>
                    <a:pt x="172" y="207"/>
                  </a:cubicBezTo>
                  <a:cubicBezTo>
                    <a:pt x="168" y="207"/>
                    <a:pt x="165" y="210"/>
                    <a:pt x="165" y="213"/>
                  </a:cubicBezTo>
                  <a:cubicBezTo>
                    <a:pt x="165" y="250"/>
                    <a:pt x="165" y="250"/>
                    <a:pt x="165" y="250"/>
                  </a:cubicBezTo>
                  <a:cubicBezTo>
                    <a:pt x="165" y="254"/>
                    <a:pt x="166" y="256"/>
                    <a:pt x="172" y="256"/>
                  </a:cubicBezTo>
                  <a:cubicBezTo>
                    <a:pt x="535" y="256"/>
                    <a:pt x="535" y="256"/>
                    <a:pt x="535" y="256"/>
                  </a:cubicBezTo>
                  <a:cubicBezTo>
                    <a:pt x="542" y="256"/>
                    <a:pt x="546" y="255"/>
                    <a:pt x="547" y="248"/>
                  </a:cubicBezTo>
                  <a:cubicBezTo>
                    <a:pt x="560" y="120"/>
                    <a:pt x="479" y="0"/>
                    <a:pt x="285" y="0"/>
                  </a:cubicBezTo>
                  <a:cubicBezTo>
                    <a:pt x="110" y="0"/>
                    <a:pt x="0" y="100"/>
                    <a:pt x="0" y="235"/>
                  </a:cubicBezTo>
                  <a:cubicBezTo>
                    <a:pt x="0" y="390"/>
                    <a:pt x="110" y="467"/>
                    <a:pt x="308" y="467"/>
                  </a:cubicBezTo>
                  <a:cubicBezTo>
                    <a:pt x="373" y="467"/>
                    <a:pt x="428" y="459"/>
                    <a:pt x="466" y="446"/>
                  </a:cubicBezTo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64" name="Freeform 30"/>
            <p:cNvSpPr>
              <a:spLocks/>
            </p:cNvSpPr>
            <p:nvPr userDrawn="1"/>
          </p:nvSpPr>
          <p:spPr bwMode="auto">
            <a:xfrm>
              <a:off x="8142287" y="6550546"/>
              <a:ext cx="103102" cy="90659"/>
            </a:xfrm>
            <a:custGeom>
              <a:avLst/>
              <a:gdLst>
                <a:gd name="T0" fmla="*/ 289 w 530"/>
                <a:gd name="T1" fmla="*/ 0 h 465"/>
                <a:gd name="T2" fmla="*/ 0 w 530"/>
                <a:gd name="T3" fmla="*/ 232 h 465"/>
                <a:gd name="T4" fmla="*/ 278 w 530"/>
                <a:gd name="T5" fmla="*/ 465 h 465"/>
                <a:gd name="T6" fmla="*/ 355 w 530"/>
                <a:gd name="T7" fmla="*/ 458 h 465"/>
                <a:gd name="T8" fmla="*/ 383 w 530"/>
                <a:gd name="T9" fmla="*/ 402 h 465"/>
                <a:gd name="T10" fmla="*/ 376 w 530"/>
                <a:gd name="T11" fmla="*/ 391 h 465"/>
                <a:gd name="T12" fmla="*/ 276 w 530"/>
                <a:gd name="T13" fmla="*/ 406 h 465"/>
                <a:gd name="T14" fmla="*/ 110 w 530"/>
                <a:gd name="T15" fmla="*/ 232 h 465"/>
                <a:gd name="T16" fmla="*/ 288 w 530"/>
                <a:gd name="T17" fmla="*/ 58 h 465"/>
                <a:gd name="T18" fmla="*/ 466 w 530"/>
                <a:gd name="T19" fmla="*/ 174 h 465"/>
                <a:gd name="T20" fmla="*/ 479 w 530"/>
                <a:gd name="T21" fmla="*/ 174 h 465"/>
                <a:gd name="T22" fmla="*/ 530 w 530"/>
                <a:gd name="T23" fmla="*/ 75 h 465"/>
                <a:gd name="T24" fmla="*/ 289 w 530"/>
                <a:gd name="T25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0" h="465">
                  <a:moveTo>
                    <a:pt x="289" y="0"/>
                  </a:moveTo>
                  <a:cubicBezTo>
                    <a:pt x="96" y="0"/>
                    <a:pt x="0" y="99"/>
                    <a:pt x="0" y="232"/>
                  </a:cubicBezTo>
                  <a:cubicBezTo>
                    <a:pt x="0" y="358"/>
                    <a:pt x="86" y="465"/>
                    <a:pt x="278" y="465"/>
                  </a:cubicBezTo>
                  <a:cubicBezTo>
                    <a:pt x="306" y="465"/>
                    <a:pt x="332" y="462"/>
                    <a:pt x="355" y="458"/>
                  </a:cubicBezTo>
                  <a:cubicBezTo>
                    <a:pt x="383" y="402"/>
                    <a:pt x="383" y="402"/>
                    <a:pt x="383" y="402"/>
                  </a:cubicBezTo>
                  <a:cubicBezTo>
                    <a:pt x="387" y="393"/>
                    <a:pt x="380" y="391"/>
                    <a:pt x="376" y="391"/>
                  </a:cubicBezTo>
                  <a:cubicBezTo>
                    <a:pt x="348" y="399"/>
                    <a:pt x="323" y="406"/>
                    <a:pt x="276" y="406"/>
                  </a:cubicBezTo>
                  <a:cubicBezTo>
                    <a:pt x="182" y="406"/>
                    <a:pt x="110" y="349"/>
                    <a:pt x="110" y="232"/>
                  </a:cubicBezTo>
                  <a:cubicBezTo>
                    <a:pt x="110" y="123"/>
                    <a:pt x="179" y="58"/>
                    <a:pt x="288" y="58"/>
                  </a:cubicBezTo>
                  <a:cubicBezTo>
                    <a:pt x="385" y="58"/>
                    <a:pt x="443" y="109"/>
                    <a:pt x="466" y="174"/>
                  </a:cubicBezTo>
                  <a:cubicBezTo>
                    <a:pt x="467" y="180"/>
                    <a:pt x="476" y="179"/>
                    <a:pt x="479" y="174"/>
                  </a:cubicBezTo>
                  <a:cubicBezTo>
                    <a:pt x="530" y="75"/>
                    <a:pt x="530" y="75"/>
                    <a:pt x="530" y="75"/>
                  </a:cubicBezTo>
                  <a:cubicBezTo>
                    <a:pt x="480" y="36"/>
                    <a:pt x="397" y="0"/>
                    <a:pt x="289" y="0"/>
                  </a:cubicBezTo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65" name="Freeform 31"/>
            <p:cNvSpPr>
              <a:spLocks/>
            </p:cNvSpPr>
            <p:nvPr userDrawn="1"/>
          </p:nvSpPr>
          <p:spPr bwMode="auto">
            <a:xfrm>
              <a:off x="8537606" y="6550734"/>
              <a:ext cx="91034" cy="90659"/>
            </a:xfrm>
            <a:custGeom>
              <a:avLst/>
              <a:gdLst>
                <a:gd name="T0" fmla="*/ 109 w 468"/>
                <a:gd name="T1" fmla="*/ 232 h 465"/>
                <a:gd name="T2" fmla="*/ 287 w 468"/>
                <a:gd name="T3" fmla="*/ 405 h 465"/>
                <a:gd name="T4" fmla="*/ 406 w 468"/>
                <a:gd name="T5" fmla="*/ 386 h 465"/>
                <a:gd name="T6" fmla="*/ 413 w 468"/>
                <a:gd name="T7" fmla="*/ 392 h 465"/>
                <a:gd name="T8" fmla="*/ 382 w 468"/>
                <a:gd name="T9" fmla="*/ 450 h 465"/>
                <a:gd name="T10" fmla="*/ 278 w 468"/>
                <a:gd name="T11" fmla="*/ 465 h 465"/>
                <a:gd name="T12" fmla="*/ 0 w 468"/>
                <a:gd name="T13" fmla="*/ 232 h 465"/>
                <a:gd name="T14" fmla="*/ 278 w 468"/>
                <a:gd name="T15" fmla="*/ 0 h 465"/>
                <a:gd name="T16" fmla="*/ 468 w 468"/>
                <a:gd name="T17" fmla="*/ 45 h 465"/>
                <a:gd name="T18" fmla="*/ 435 w 468"/>
                <a:gd name="T19" fmla="*/ 107 h 465"/>
                <a:gd name="T20" fmla="*/ 425 w 468"/>
                <a:gd name="T21" fmla="*/ 107 h 465"/>
                <a:gd name="T22" fmla="*/ 287 w 468"/>
                <a:gd name="T23" fmla="*/ 60 h 465"/>
                <a:gd name="T24" fmla="*/ 109 w 468"/>
                <a:gd name="T25" fmla="*/ 232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8" h="465">
                  <a:moveTo>
                    <a:pt x="109" y="232"/>
                  </a:moveTo>
                  <a:cubicBezTo>
                    <a:pt x="109" y="343"/>
                    <a:pt x="186" y="405"/>
                    <a:pt x="287" y="405"/>
                  </a:cubicBezTo>
                  <a:cubicBezTo>
                    <a:pt x="330" y="405"/>
                    <a:pt x="363" y="402"/>
                    <a:pt x="406" y="386"/>
                  </a:cubicBezTo>
                  <a:cubicBezTo>
                    <a:pt x="411" y="384"/>
                    <a:pt x="416" y="386"/>
                    <a:pt x="413" y="392"/>
                  </a:cubicBezTo>
                  <a:cubicBezTo>
                    <a:pt x="382" y="450"/>
                    <a:pt x="382" y="450"/>
                    <a:pt x="382" y="450"/>
                  </a:cubicBezTo>
                  <a:cubicBezTo>
                    <a:pt x="346" y="462"/>
                    <a:pt x="319" y="465"/>
                    <a:pt x="278" y="465"/>
                  </a:cubicBezTo>
                  <a:cubicBezTo>
                    <a:pt x="101" y="465"/>
                    <a:pt x="0" y="365"/>
                    <a:pt x="0" y="232"/>
                  </a:cubicBezTo>
                  <a:cubicBezTo>
                    <a:pt x="0" y="100"/>
                    <a:pt x="101" y="0"/>
                    <a:pt x="278" y="0"/>
                  </a:cubicBezTo>
                  <a:cubicBezTo>
                    <a:pt x="364" y="0"/>
                    <a:pt x="433" y="23"/>
                    <a:pt x="468" y="45"/>
                  </a:cubicBezTo>
                  <a:cubicBezTo>
                    <a:pt x="435" y="107"/>
                    <a:pt x="435" y="107"/>
                    <a:pt x="435" y="107"/>
                  </a:cubicBezTo>
                  <a:cubicBezTo>
                    <a:pt x="433" y="111"/>
                    <a:pt x="429" y="111"/>
                    <a:pt x="425" y="107"/>
                  </a:cubicBezTo>
                  <a:cubicBezTo>
                    <a:pt x="396" y="78"/>
                    <a:pt x="344" y="60"/>
                    <a:pt x="287" y="60"/>
                  </a:cubicBezTo>
                  <a:cubicBezTo>
                    <a:pt x="186" y="60"/>
                    <a:pt x="109" y="122"/>
                    <a:pt x="109" y="232"/>
                  </a:cubicBezTo>
                </a:path>
              </a:pathLst>
            </a:custGeom>
            <a:solidFill>
              <a:srgbClr val="1D36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  <p:sp>
          <p:nvSpPr>
            <p:cNvPr id="66" name="Freeform 32"/>
            <p:cNvSpPr>
              <a:spLocks/>
            </p:cNvSpPr>
            <p:nvPr userDrawn="1"/>
          </p:nvSpPr>
          <p:spPr bwMode="auto">
            <a:xfrm>
              <a:off x="8230810" y="6550546"/>
              <a:ext cx="102915" cy="90659"/>
            </a:xfrm>
            <a:custGeom>
              <a:avLst/>
              <a:gdLst>
                <a:gd name="T0" fmla="*/ 242 w 529"/>
                <a:gd name="T1" fmla="*/ 407 h 465"/>
                <a:gd name="T2" fmla="*/ 64 w 529"/>
                <a:gd name="T3" fmla="*/ 291 h 465"/>
                <a:gd name="T4" fmla="*/ 51 w 529"/>
                <a:gd name="T5" fmla="*/ 291 h 465"/>
                <a:gd name="T6" fmla="*/ 0 w 529"/>
                <a:gd name="T7" fmla="*/ 390 h 465"/>
                <a:gd name="T8" fmla="*/ 240 w 529"/>
                <a:gd name="T9" fmla="*/ 465 h 465"/>
                <a:gd name="T10" fmla="*/ 529 w 529"/>
                <a:gd name="T11" fmla="*/ 233 h 465"/>
                <a:gd name="T12" fmla="*/ 252 w 529"/>
                <a:gd name="T13" fmla="*/ 0 h 465"/>
                <a:gd name="T14" fmla="*/ 174 w 529"/>
                <a:gd name="T15" fmla="*/ 7 h 465"/>
                <a:gd name="T16" fmla="*/ 146 w 529"/>
                <a:gd name="T17" fmla="*/ 63 h 465"/>
                <a:gd name="T18" fmla="*/ 154 w 529"/>
                <a:gd name="T19" fmla="*/ 74 h 465"/>
                <a:gd name="T20" fmla="*/ 254 w 529"/>
                <a:gd name="T21" fmla="*/ 59 h 465"/>
                <a:gd name="T22" fmla="*/ 419 w 529"/>
                <a:gd name="T23" fmla="*/ 233 h 465"/>
                <a:gd name="T24" fmla="*/ 242 w 529"/>
                <a:gd name="T25" fmla="*/ 407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29" h="465">
                  <a:moveTo>
                    <a:pt x="242" y="407"/>
                  </a:moveTo>
                  <a:cubicBezTo>
                    <a:pt x="144" y="407"/>
                    <a:pt x="87" y="356"/>
                    <a:pt x="64" y="291"/>
                  </a:cubicBezTo>
                  <a:cubicBezTo>
                    <a:pt x="62" y="285"/>
                    <a:pt x="54" y="286"/>
                    <a:pt x="51" y="291"/>
                  </a:cubicBezTo>
                  <a:cubicBezTo>
                    <a:pt x="0" y="390"/>
                    <a:pt x="0" y="390"/>
                    <a:pt x="0" y="390"/>
                  </a:cubicBezTo>
                  <a:cubicBezTo>
                    <a:pt x="50" y="429"/>
                    <a:pt x="133" y="465"/>
                    <a:pt x="240" y="465"/>
                  </a:cubicBezTo>
                  <a:cubicBezTo>
                    <a:pt x="434" y="465"/>
                    <a:pt x="529" y="366"/>
                    <a:pt x="529" y="233"/>
                  </a:cubicBezTo>
                  <a:cubicBezTo>
                    <a:pt x="529" y="107"/>
                    <a:pt x="443" y="0"/>
                    <a:pt x="252" y="0"/>
                  </a:cubicBezTo>
                  <a:cubicBezTo>
                    <a:pt x="224" y="0"/>
                    <a:pt x="198" y="3"/>
                    <a:pt x="174" y="7"/>
                  </a:cubicBezTo>
                  <a:cubicBezTo>
                    <a:pt x="146" y="63"/>
                    <a:pt x="146" y="63"/>
                    <a:pt x="146" y="63"/>
                  </a:cubicBezTo>
                  <a:cubicBezTo>
                    <a:pt x="143" y="72"/>
                    <a:pt x="149" y="74"/>
                    <a:pt x="154" y="74"/>
                  </a:cubicBezTo>
                  <a:cubicBezTo>
                    <a:pt x="182" y="66"/>
                    <a:pt x="207" y="59"/>
                    <a:pt x="254" y="59"/>
                  </a:cubicBezTo>
                  <a:cubicBezTo>
                    <a:pt x="347" y="59"/>
                    <a:pt x="419" y="116"/>
                    <a:pt x="419" y="233"/>
                  </a:cubicBezTo>
                  <a:cubicBezTo>
                    <a:pt x="419" y="342"/>
                    <a:pt x="350" y="407"/>
                    <a:pt x="242" y="407"/>
                  </a:cubicBezTo>
                </a:path>
              </a:pathLst>
            </a:custGeom>
            <a:solidFill>
              <a:srgbClr val="5CB7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7907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5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2880" userDrawn="1">
          <p15:clr>
            <a:srgbClr val="F26B43"/>
          </p15:clr>
        </p15:guide>
        <p15:guide id="2" userDrawn="1">
          <p15:clr>
            <a:srgbClr val="F26B43"/>
          </p15:clr>
        </p15:guide>
        <p15:guide id="3" pos="5760" userDrawn="1">
          <p15:clr>
            <a:srgbClr val="F26B43"/>
          </p15:clr>
        </p15:guide>
        <p15:guide id="4" orient="horz" pos="2160" userDrawn="1">
          <p15:clr>
            <a:srgbClr val="F26B43"/>
          </p15:clr>
        </p15:guide>
        <p15:guide id="5" orient="horz" userDrawn="1">
          <p15:clr>
            <a:srgbClr val="F26B43"/>
          </p15:clr>
        </p15:guide>
        <p15:guide id="6" orient="horz" pos="4320" userDrawn="1">
          <p15:clr>
            <a:srgbClr val="F26B43"/>
          </p15:clr>
        </p15:guide>
        <p15:guide id="7" pos="249" userDrawn="1">
          <p15:clr>
            <a:srgbClr val="F26B43"/>
          </p15:clr>
        </p15:guide>
        <p15:guide id="8" pos="5511" userDrawn="1">
          <p15:clr>
            <a:srgbClr val="F26B43"/>
          </p15:clr>
        </p15:guide>
        <p15:guide id="9" pos="50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chart" Target="../charts/char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Espace réservé du texte 44"/>
          <p:cNvSpPr>
            <a:spLocks noGrp="1"/>
          </p:cNvSpPr>
          <p:nvPr>
            <p:ph type="body" sz="quarter" idx="10"/>
          </p:nvPr>
        </p:nvSpPr>
        <p:spPr>
          <a:xfrm>
            <a:off x="152400" y="2133600"/>
            <a:ext cx="5132660" cy="3850285"/>
          </a:xfrm>
        </p:spPr>
        <p:txBody>
          <a:bodyPr/>
          <a:lstStyle/>
          <a:p>
            <a:r>
              <a:rPr lang="it-IT" sz="2400" b="1" dirty="0" smtClean="0">
                <a:solidFill>
                  <a:srgbClr val="213588"/>
                </a:solidFill>
              </a:rPr>
              <a:t>competitivitatea</a:t>
            </a:r>
          </a:p>
          <a:p>
            <a:r>
              <a:rPr lang="it-IT" sz="2400" b="1" dirty="0" smtClean="0">
                <a:solidFill>
                  <a:srgbClr val="213588"/>
                </a:solidFill>
              </a:rPr>
              <a:t>MEDIULUI </a:t>
            </a:r>
            <a:r>
              <a:rPr lang="it-IT" sz="2400" b="1" dirty="0">
                <a:solidFill>
                  <a:srgbClr val="213588"/>
                </a:solidFill>
              </a:rPr>
              <a:t>DE </a:t>
            </a:r>
            <a:r>
              <a:rPr lang="it-IT" sz="2400" b="1" dirty="0" smtClean="0">
                <a:solidFill>
                  <a:srgbClr val="213588"/>
                </a:solidFill>
              </a:rPr>
              <a:t>AFACERI</a:t>
            </a:r>
          </a:p>
          <a:p>
            <a:r>
              <a:rPr lang="it-IT" sz="2400" b="1" dirty="0" smtClean="0">
                <a:solidFill>
                  <a:srgbClr val="213588"/>
                </a:solidFill>
              </a:rPr>
              <a:t>In cotextul fenomentului polarizarii economice</a:t>
            </a:r>
            <a:endParaRPr lang="it-IT" b="1" dirty="0">
              <a:solidFill>
                <a:srgbClr val="213588"/>
              </a:solidFill>
            </a:endParaRPr>
          </a:p>
          <a:p>
            <a:r>
              <a:rPr lang="en-US" dirty="0" smtClean="0">
                <a:solidFill>
                  <a:srgbClr val="213588"/>
                </a:solidFill>
              </a:rPr>
              <a:t>—</a:t>
            </a:r>
          </a:p>
          <a:p>
            <a:pPr lvl="2">
              <a:spcBef>
                <a:spcPts val="1200"/>
              </a:spcBef>
            </a:pPr>
            <a:r>
              <a:rPr lang="en-US" sz="1400" b="1" dirty="0" smtClean="0">
                <a:solidFill>
                  <a:srgbClr val="213588"/>
                </a:solidFill>
              </a:rPr>
              <a:t>19</a:t>
            </a:r>
            <a:r>
              <a:rPr lang="en-US" sz="1400" b="1" dirty="0" smtClean="0">
                <a:solidFill>
                  <a:srgbClr val="213588"/>
                </a:solidFill>
              </a:rPr>
              <a:t>.09.2018</a:t>
            </a:r>
            <a:endParaRPr lang="en-US" sz="1400" b="1" dirty="0" smtClean="0">
              <a:solidFill>
                <a:srgbClr val="213588"/>
              </a:solidFill>
            </a:endParaRPr>
          </a:p>
          <a:p>
            <a:pPr lvl="2">
              <a:spcBef>
                <a:spcPts val="1200"/>
              </a:spcBef>
            </a:pPr>
            <a:endParaRPr lang="en-US" b="1" dirty="0" smtClean="0">
              <a:solidFill>
                <a:srgbClr val="213588"/>
              </a:solidFill>
            </a:endParaRPr>
          </a:p>
          <a:p>
            <a:pPr lvl="2">
              <a:spcBef>
                <a:spcPts val="1200"/>
              </a:spcBef>
            </a:pPr>
            <a:r>
              <a:rPr lang="en-US" sz="1800" b="1" dirty="0" smtClean="0">
                <a:solidFill>
                  <a:srgbClr val="213588"/>
                </a:solidFill>
              </a:rPr>
              <a:t>Iancu </a:t>
            </a:r>
            <a:r>
              <a:rPr lang="en-US" sz="1800" b="1" dirty="0" err="1">
                <a:solidFill>
                  <a:srgbClr val="213588"/>
                </a:solidFill>
              </a:rPr>
              <a:t>guda</a:t>
            </a:r>
            <a:r>
              <a:rPr lang="en-US" sz="1800" b="1" dirty="0">
                <a:solidFill>
                  <a:srgbClr val="213588"/>
                </a:solidFill>
              </a:rPr>
              <a:t>, CFA, EMBA </a:t>
            </a:r>
            <a:br>
              <a:rPr lang="en-US" sz="1800" b="1" dirty="0">
                <a:solidFill>
                  <a:srgbClr val="213588"/>
                </a:solidFill>
              </a:rPr>
            </a:br>
            <a:r>
              <a:rPr lang="en-US" sz="1800" dirty="0" smtClean="0">
                <a:solidFill>
                  <a:srgbClr val="213588"/>
                </a:solidFill>
              </a:rPr>
              <a:t>AAFBR President</a:t>
            </a:r>
            <a:br>
              <a:rPr lang="en-US" sz="1800" dirty="0" smtClean="0">
                <a:solidFill>
                  <a:srgbClr val="213588"/>
                </a:solidFill>
              </a:rPr>
            </a:br>
            <a:r>
              <a:rPr lang="en-US" sz="1800" dirty="0" smtClean="0">
                <a:solidFill>
                  <a:srgbClr val="213588"/>
                </a:solidFill>
              </a:rPr>
              <a:t>IBR – ISF Trainer </a:t>
            </a:r>
            <a:r>
              <a:rPr lang="en-US" sz="1800" dirty="0">
                <a:solidFill>
                  <a:srgbClr val="213588"/>
                </a:solidFill>
              </a:rPr>
              <a:t>(ANC)</a:t>
            </a:r>
          </a:p>
          <a:p>
            <a:pPr lvl="2">
              <a:spcBef>
                <a:spcPts val="1200"/>
              </a:spcBef>
            </a:pPr>
            <a:endParaRPr lang="en-US" sz="1800" b="1" dirty="0" smtClean="0">
              <a:solidFill>
                <a:srgbClr val="213588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88" y="228600"/>
            <a:ext cx="273367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194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95287" y="232003"/>
            <a:ext cx="8353426" cy="323165"/>
          </a:xfrm>
        </p:spPr>
        <p:txBody>
          <a:bodyPr/>
          <a:lstStyle/>
          <a:p>
            <a:r>
              <a:rPr lang="en-US" sz="2000" dirty="0" err="1" smtClean="0"/>
              <a:t>Paradoxul</a:t>
            </a:r>
            <a:r>
              <a:rPr lang="en-US" sz="2000" dirty="0" smtClean="0"/>
              <a:t> </a:t>
            </a:r>
            <a:r>
              <a:rPr lang="en-US" sz="2000" dirty="0" err="1" smtClean="0"/>
              <a:t>ultimului</a:t>
            </a:r>
            <a:r>
              <a:rPr lang="en-US" sz="2000" dirty="0" smtClean="0"/>
              <a:t> </a:t>
            </a:r>
            <a:r>
              <a:rPr lang="en-US" sz="2000" dirty="0" err="1" smtClean="0"/>
              <a:t>deceniu</a:t>
            </a:r>
            <a:r>
              <a:rPr lang="en-US" sz="2000" dirty="0" smtClean="0"/>
              <a:t>: </a:t>
            </a:r>
            <a:r>
              <a:rPr lang="en-US" sz="2000" dirty="0" err="1" smtClean="0"/>
              <a:t>Creste</a:t>
            </a:r>
            <a:r>
              <a:rPr lang="en-US" sz="2000" dirty="0" smtClean="0"/>
              <a:t> </a:t>
            </a:r>
            <a:r>
              <a:rPr lang="en-US" sz="2000" dirty="0" err="1" smtClean="0"/>
              <a:t>economica</a:t>
            </a:r>
            <a:r>
              <a:rPr lang="en-US" sz="2000" dirty="0" smtClean="0"/>
              <a:t> Mare </a:t>
            </a:r>
            <a:r>
              <a:rPr lang="en-US" sz="2000" dirty="0" smtClean="0">
                <a:sym typeface="Wingdings" panose="05000000000000000000" pitchFamily="2" charset="2"/>
              </a:rPr>
              <a:t> </a:t>
            </a:r>
            <a:r>
              <a:rPr lang="en-US" sz="2000" dirty="0" err="1" smtClean="0">
                <a:sym typeface="Wingdings" panose="05000000000000000000" pitchFamily="2" charset="2"/>
              </a:rPr>
              <a:t>risc</a:t>
            </a:r>
            <a:r>
              <a:rPr lang="en-US" sz="2000" dirty="0" smtClean="0">
                <a:sym typeface="Wingdings" panose="05000000000000000000" pitchFamily="2" charset="2"/>
              </a:rPr>
              <a:t> mare? </a:t>
            </a:r>
            <a:endParaRPr lang="ro-RO" sz="2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25000" lnSpcReduction="20000"/>
          </a:bodyPr>
          <a:lstStyle/>
          <a:p>
            <a:endParaRPr lang="ro-RO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180" y="1494065"/>
            <a:ext cx="3980433" cy="2326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5610" y="1614487"/>
            <a:ext cx="3748982" cy="2206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ight Arrow 2"/>
          <p:cNvSpPr/>
          <p:nvPr/>
        </p:nvSpPr>
        <p:spPr>
          <a:xfrm>
            <a:off x="4408715" y="2380229"/>
            <a:ext cx="642257" cy="674914"/>
          </a:xfrm>
          <a:prstGeom prst="rightArrow">
            <a:avLst/>
          </a:prstGeom>
          <a:solidFill>
            <a:schemeClr val="tx2"/>
          </a:solidFill>
          <a:ln w="12700" cap="rnd">
            <a:noFill/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o-RO"/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9609406"/>
              </p:ext>
            </p:extLst>
          </p:nvPr>
        </p:nvGraphicFramePr>
        <p:xfrm>
          <a:off x="1328057" y="4495800"/>
          <a:ext cx="5856513" cy="2188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Rectangle 1"/>
          <p:cNvSpPr>
            <a:spLocks noChangeArrowheads="1"/>
          </p:cNvSpPr>
          <p:nvPr/>
        </p:nvSpPr>
        <p:spPr bwMode="auto">
          <a:xfrm>
            <a:off x="1208313" y="942773"/>
            <a:ext cx="222068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600" b="1" dirty="0" err="1" smtClean="0">
                <a:solidFill>
                  <a:schemeClr val="accent5"/>
                </a:solidFill>
              </a:rPr>
              <a:t>Evolutia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PIB real </a:t>
            </a:r>
            <a:endParaRPr lang="ro-RO" altLang="ro-RO" sz="1600" dirty="0">
              <a:solidFill>
                <a:schemeClr val="accent5"/>
              </a:solidFill>
            </a:endParaRPr>
          </a:p>
        </p:txBody>
      </p:sp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5747658" y="942773"/>
            <a:ext cx="291737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600" b="1" dirty="0" err="1" smtClean="0">
                <a:solidFill>
                  <a:schemeClr val="accent5"/>
                </a:solidFill>
              </a:rPr>
              <a:t>Distributia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Altman Z-score</a:t>
            </a:r>
            <a:endParaRPr lang="ro-RO" altLang="ro-RO" sz="1600" dirty="0">
              <a:solidFill>
                <a:schemeClr val="accent5"/>
              </a:solidFill>
            </a:endParaRPr>
          </a:p>
        </p:txBody>
      </p:sp>
      <p:sp>
        <p:nvSpPr>
          <p:cNvPr id="17" name="Rectangle 1"/>
          <p:cNvSpPr>
            <a:spLocks noChangeArrowheads="1"/>
          </p:cNvSpPr>
          <p:nvPr/>
        </p:nvSpPr>
        <p:spPr bwMode="auto">
          <a:xfrm>
            <a:off x="1208313" y="4066971"/>
            <a:ext cx="630282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600" b="1" dirty="0" err="1" smtClean="0">
                <a:solidFill>
                  <a:schemeClr val="accent5"/>
                </a:solidFill>
              </a:rPr>
              <a:t>Distributia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Altman Z-score in </a:t>
            </a:r>
            <a:r>
              <a:rPr lang="en-US" altLang="ro-RO" sz="1600" b="1" dirty="0" err="1" smtClean="0">
                <a:solidFill>
                  <a:schemeClr val="accent5"/>
                </a:solidFill>
              </a:rPr>
              <a:t>funcie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de </a:t>
            </a:r>
            <a:r>
              <a:rPr lang="en-US" altLang="ro-RO" sz="1600" b="1" dirty="0" err="1" smtClean="0">
                <a:solidFill>
                  <a:schemeClr val="accent5"/>
                </a:solidFill>
              </a:rPr>
              <a:t>dimensiunea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600" b="1" dirty="0" err="1" smtClean="0">
                <a:solidFill>
                  <a:schemeClr val="accent5"/>
                </a:solidFill>
              </a:rPr>
              <a:t>companiei</a:t>
            </a:r>
            <a:endParaRPr lang="ro-RO" altLang="ro-RO" sz="1600" dirty="0">
              <a:solidFill>
                <a:schemeClr val="accent5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10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755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95287" y="232003"/>
            <a:ext cx="8353426" cy="323165"/>
          </a:xfrm>
        </p:spPr>
        <p:txBody>
          <a:bodyPr/>
          <a:lstStyle/>
          <a:p>
            <a:r>
              <a:rPr lang="en-US" sz="2000" dirty="0" err="1" smtClean="0"/>
              <a:t>Paradoxul</a:t>
            </a:r>
            <a:r>
              <a:rPr lang="en-US" sz="2000" dirty="0" smtClean="0"/>
              <a:t> </a:t>
            </a:r>
            <a:r>
              <a:rPr lang="en-US" sz="2000" dirty="0" err="1" smtClean="0"/>
              <a:t>ultimului</a:t>
            </a:r>
            <a:r>
              <a:rPr lang="en-US" sz="2000" dirty="0" smtClean="0"/>
              <a:t> </a:t>
            </a:r>
            <a:r>
              <a:rPr lang="en-US" sz="2000" dirty="0" err="1" smtClean="0"/>
              <a:t>deceniu</a:t>
            </a:r>
            <a:r>
              <a:rPr lang="en-US" sz="2000" dirty="0" smtClean="0"/>
              <a:t>: </a:t>
            </a:r>
            <a:r>
              <a:rPr lang="en-US" sz="2000" dirty="0" err="1" smtClean="0"/>
              <a:t>Creste</a:t>
            </a:r>
            <a:r>
              <a:rPr lang="en-US" sz="2000" dirty="0" smtClean="0"/>
              <a:t> </a:t>
            </a:r>
            <a:r>
              <a:rPr lang="en-US" sz="2000" dirty="0" err="1" smtClean="0"/>
              <a:t>economica</a:t>
            </a:r>
            <a:r>
              <a:rPr lang="en-US" sz="2000" dirty="0" smtClean="0"/>
              <a:t> Mare </a:t>
            </a:r>
            <a:r>
              <a:rPr lang="en-US" sz="2000" dirty="0" smtClean="0">
                <a:sym typeface="Wingdings" panose="05000000000000000000" pitchFamily="2" charset="2"/>
              </a:rPr>
              <a:t> </a:t>
            </a:r>
            <a:r>
              <a:rPr lang="en-US" sz="2000" dirty="0" err="1" smtClean="0">
                <a:sym typeface="Wingdings" panose="05000000000000000000" pitchFamily="2" charset="2"/>
              </a:rPr>
              <a:t>risc</a:t>
            </a:r>
            <a:r>
              <a:rPr lang="en-US" sz="2000" dirty="0" smtClean="0">
                <a:sym typeface="Wingdings" panose="05000000000000000000" pitchFamily="2" charset="2"/>
              </a:rPr>
              <a:t> mare? </a:t>
            </a:r>
            <a:endParaRPr lang="ro-RO" sz="2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25000" lnSpcReduction="20000"/>
          </a:bodyPr>
          <a:lstStyle/>
          <a:p>
            <a:endParaRPr lang="ro-RO"/>
          </a:p>
        </p:txBody>
      </p:sp>
      <p:sp>
        <p:nvSpPr>
          <p:cNvPr id="3" name="Right Arrow 2"/>
          <p:cNvSpPr/>
          <p:nvPr/>
        </p:nvSpPr>
        <p:spPr>
          <a:xfrm>
            <a:off x="4408715" y="1756001"/>
            <a:ext cx="642257" cy="674914"/>
          </a:xfrm>
          <a:prstGeom prst="rightArrow">
            <a:avLst/>
          </a:prstGeom>
          <a:solidFill>
            <a:schemeClr val="tx2"/>
          </a:solidFill>
          <a:ln w="12700" cap="rnd">
            <a:noFill/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o-RO"/>
          </a:p>
        </p:txBody>
      </p:sp>
      <p:sp>
        <p:nvSpPr>
          <p:cNvPr id="15" name="Rectangle 1"/>
          <p:cNvSpPr>
            <a:spLocks noChangeArrowheads="1"/>
          </p:cNvSpPr>
          <p:nvPr/>
        </p:nvSpPr>
        <p:spPr bwMode="auto">
          <a:xfrm>
            <a:off x="319009" y="716794"/>
            <a:ext cx="404877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400" b="1" dirty="0" smtClean="0">
                <a:solidFill>
                  <a:schemeClr val="accent5"/>
                </a:solidFill>
              </a:rPr>
              <a:t>Altman Z-score Median in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functie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de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venituri</a:t>
            </a:r>
            <a:endParaRPr lang="ro-RO" altLang="ro-RO" sz="1400" dirty="0">
              <a:solidFill>
                <a:schemeClr val="accent5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942" y="1156249"/>
            <a:ext cx="3917427" cy="2392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029" y="1133475"/>
            <a:ext cx="3646716" cy="2415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5279576" y="718108"/>
            <a:ext cx="375557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400" b="1" dirty="0" err="1" smtClean="0">
                <a:solidFill>
                  <a:schemeClr val="accent5"/>
                </a:solidFill>
              </a:rPr>
              <a:t>Distributia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riscului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in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functie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de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venituri</a:t>
            </a:r>
            <a:endParaRPr lang="ro-RO" altLang="ro-RO" sz="1400" dirty="0">
              <a:solidFill>
                <a:schemeClr val="accent5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84044"/>
              </p:ext>
            </p:extLst>
          </p:nvPr>
        </p:nvGraphicFramePr>
        <p:xfrm>
          <a:off x="1223804" y="3801153"/>
          <a:ext cx="6744539" cy="25866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91759"/>
                <a:gridCol w="887129"/>
                <a:gridCol w="985158"/>
                <a:gridCol w="1215282"/>
                <a:gridCol w="1407268"/>
                <a:gridCol w="957943"/>
              </a:tblGrid>
              <a:tr h="4660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tegorie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de</a:t>
                      </a: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de</a:t>
                      </a: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an</a:t>
                      </a: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-score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cul companiilor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</a:t>
                      </a: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 </a:t>
                      </a: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ii Active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</a:t>
                      </a: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 Salaria</a:t>
                      </a: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182880">
                <a:tc rowSpan="5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 5 </a:t>
                      </a: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de</a:t>
                      </a: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 </a:t>
                      </a: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 cel mai mare risc al </a:t>
                      </a: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iilor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leorman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39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e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125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.890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</a:tr>
              <a:tr h="182880">
                <a:tc vMerge="1">
                  <a:txBody>
                    <a:bodyPr/>
                    <a:lstStyle/>
                    <a:p>
                      <a:endParaRPr lang="ro-R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slui</a:t>
                      </a:r>
                      <a:endParaRPr lang="ro-RO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59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e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286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.666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</a:tr>
              <a:tr h="182880">
                <a:tc vMerge="1">
                  <a:txBody>
                    <a:bodyPr/>
                    <a:lstStyle/>
                    <a:p>
                      <a:endParaRPr lang="ro-R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rgiu</a:t>
                      </a:r>
                      <a:endParaRPr lang="ro-RO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8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e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856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.458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</a:tr>
              <a:tr h="182880">
                <a:tc vMerge="1">
                  <a:txBody>
                    <a:bodyPr/>
                    <a:lstStyle/>
                    <a:p>
                      <a:endParaRPr lang="ro-R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vasna</a:t>
                      </a:r>
                      <a:endParaRPr lang="ro-RO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70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e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271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.841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</a:tr>
              <a:tr h="182880">
                <a:tc vMerge="1">
                  <a:txBody>
                    <a:bodyPr/>
                    <a:lstStyle/>
                    <a:p>
                      <a:endParaRPr lang="ro-R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lt</a:t>
                      </a:r>
                      <a:endParaRPr lang="ro-RO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71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e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246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.822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</a:tr>
              <a:tr h="182880">
                <a:tc grid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------------------------------------------------------------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o-R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o-R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o-R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o-R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o-RO"/>
                    </a:p>
                  </a:txBody>
                  <a:tcPr/>
                </a:tc>
              </a:tr>
              <a:tr h="182880">
                <a:tc rowSpan="5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 5 </a:t>
                      </a: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de</a:t>
                      </a: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 </a:t>
                      </a: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 cel mai mic risc al </a:t>
                      </a: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iilor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cure</a:t>
                      </a: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</a:t>
                      </a: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22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</a:t>
                      </a:r>
                      <a:endParaRPr lang="ro-RO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.480</a:t>
                      </a:r>
                      <a:endParaRPr lang="ro-RO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63.995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</a:tr>
              <a:tr h="182880">
                <a:tc vMerge="1">
                  <a:txBody>
                    <a:bodyPr/>
                    <a:lstStyle/>
                    <a:p>
                      <a:endParaRPr lang="ro-R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a</a:t>
                      </a: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</a:t>
                      </a: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23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</a:t>
                      </a:r>
                      <a:endParaRPr lang="ro-RO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.530</a:t>
                      </a:r>
                      <a:endParaRPr lang="ro-RO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3.323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</a:tr>
              <a:tr h="182880">
                <a:tc vMerge="1">
                  <a:txBody>
                    <a:bodyPr/>
                    <a:lstStyle/>
                    <a:p>
                      <a:endParaRPr lang="ro-R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uj</a:t>
                      </a:r>
                      <a:endParaRPr lang="ro-RO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34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</a:t>
                      </a:r>
                      <a:endParaRPr lang="ro-RO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.531</a:t>
                      </a:r>
                      <a:endParaRPr lang="ro-RO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4.215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</a:tr>
              <a:tr h="182880">
                <a:tc vMerge="1">
                  <a:txBody>
                    <a:bodyPr/>
                    <a:lstStyle/>
                    <a:p>
                      <a:endParaRPr lang="ro-R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i</a:t>
                      </a:r>
                      <a:r>
                        <a:rPr lang="en-US" sz="11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39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</a:t>
                      </a:r>
                      <a:endParaRPr lang="ro-RO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.816</a:t>
                      </a:r>
                      <a:endParaRPr lang="ro-RO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9.436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</a:tr>
              <a:tr h="182880">
                <a:tc vMerge="1">
                  <a:txBody>
                    <a:bodyPr/>
                    <a:lstStyle/>
                    <a:p>
                      <a:endParaRPr lang="ro-R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biu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0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</a:t>
                      </a:r>
                      <a:endParaRPr lang="ro-RO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817</a:t>
                      </a:r>
                      <a:endParaRPr lang="ro-RO" sz="11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.780</a:t>
                      </a:r>
                      <a:endParaRPr lang="ro-RO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11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227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12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95287" y="232003"/>
            <a:ext cx="8353426" cy="323165"/>
          </a:xfrm>
        </p:spPr>
        <p:txBody>
          <a:bodyPr/>
          <a:lstStyle/>
          <a:p>
            <a:pPr algn="ctr"/>
            <a:r>
              <a:rPr lang="en-US" sz="2000" dirty="0" err="1" smtClean="0"/>
              <a:t>Evolutia</a:t>
            </a:r>
            <a:r>
              <a:rPr lang="en-US" sz="2000" dirty="0" smtClean="0"/>
              <a:t> </a:t>
            </a:r>
            <a:r>
              <a:rPr lang="en-US" sz="2000" dirty="0" err="1" smtClean="0"/>
              <a:t>cifrei</a:t>
            </a:r>
            <a:r>
              <a:rPr lang="en-US" sz="2000" dirty="0" smtClean="0"/>
              <a:t> de </a:t>
            </a:r>
            <a:r>
              <a:rPr lang="en-US" sz="2000" dirty="0" err="1" smtClean="0"/>
              <a:t>afaceri</a:t>
            </a:r>
            <a:r>
              <a:rPr lang="en-US" sz="2000" dirty="0" smtClean="0"/>
              <a:t> – </a:t>
            </a:r>
            <a:r>
              <a:rPr lang="en-US" sz="2000" dirty="0" err="1" smtClean="0"/>
              <a:t>trenduri</a:t>
            </a:r>
            <a:r>
              <a:rPr lang="en-US" sz="2000" dirty="0" smtClean="0"/>
              <a:t> </a:t>
            </a:r>
            <a:r>
              <a:rPr lang="en-US" sz="2000" dirty="0" err="1" smtClean="0"/>
              <a:t>pe</a:t>
            </a:r>
            <a:r>
              <a:rPr lang="en-US" sz="2000" dirty="0" smtClean="0"/>
              <a:t> </a:t>
            </a:r>
            <a:r>
              <a:rPr lang="en-US" sz="2000" dirty="0" err="1" smtClean="0"/>
              <a:t>termen</a:t>
            </a:r>
            <a:r>
              <a:rPr lang="en-US" sz="2000" dirty="0" smtClean="0"/>
              <a:t> lung (‘17 vs ‘08) </a:t>
            </a:r>
            <a:endParaRPr lang="ro-RO" sz="2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25000" lnSpcReduction="20000"/>
          </a:bodyPr>
          <a:lstStyle/>
          <a:p>
            <a:endParaRPr lang="ro-RO"/>
          </a:p>
        </p:txBody>
      </p:sp>
      <p:sp>
        <p:nvSpPr>
          <p:cNvPr id="15" name="Rectangle 1"/>
          <p:cNvSpPr>
            <a:spLocks noChangeArrowheads="1"/>
          </p:cNvSpPr>
          <p:nvPr/>
        </p:nvSpPr>
        <p:spPr bwMode="auto">
          <a:xfrm>
            <a:off x="319009" y="893767"/>
            <a:ext cx="853379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400" b="1" dirty="0" smtClean="0">
                <a:solidFill>
                  <a:srgbClr val="FF0000"/>
                </a:solidFill>
              </a:rPr>
              <a:t>TOP 10 </a:t>
            </a:r>
            <a:r>
              <a:rPr lang="en-US" altLang="ro-RO" sz="1400" b="1" dirty="0" err="1" smtClean="0">
                <a:solidFill>
                  <a:srgbClr val="FF0000"/>
                </a:solidFill>
              </a:rPr>
              <a:t>sectoare</a:t>
            </a:r>
            <a:r>
              <a:rPr lang="en-US" altLang="ro-RO" sz="1400" b="1" dirty="0" smtClean="0">
                <a:solidFill>
                  <a:srgbClr val="FF0000"/>
                </a:solidFill>
              </a:rPr>
              <a:t> cu </a:t>
            </a:r>
            <a:r>
              <a:rPr lang="en-US" altLang="ro-RO" sz="1400" b="1" dirty="0" err="1" smtClean="0">
                <a:solidFill>
                  <a:srgbClr val="FF0000"/>
                </a:solidFill>
              </a:rPr>
              <a:t>cele</a:t>
            </a:r>
            <a:r>
              <a:rPr lang="en-US" altLang="ro-RO" sz="1400" b="1" dirty="0" smtClean="0">
                <a:solidFill>
                  <a:srgbClr val="FF0000"/>
                </a:solidFill>
              </a:rPr>
              <a:t> </a:t>
            </a:r>
            <a:r>
              <a:rPr lang="en-US" altLang="ro-RO" sz="1400" b="1" dirty="0" err="1" smtClean="0">
                <a:solidFill>
                  <a:srgbClr val="FF0000"/>
                </a:solidFill>
              </a:rPr>
              <a:t>mai</a:t>
            </a:r>
            <a:r>
              <a:rPr lang="en-US" altLang="ro-RO" sz="1400" b="1" dirty="0" smtClean="0">
                <a:solidFill>
                  <a:srgbClr val="FF0000"/>
                </a:solidFill>
              </a:rPr>
              <a:t> </a:t>
            </a:r>
            <a:r>
              <a:rPr lang="en-US" altLang="ro-RO" sz="1400" b="1" dirty="0" err="1" smtClean="0">
                <a:solidFill>
                  <a:srgbClr val="FF0000"/>
                </a:solidFill>
              </a:rPr>
              <a:t>mari</a:t>
            </a:r>
            <a:r>
              <a:rPr lang="en-US" altLang="ro-RO" sz="1400" b="1" dirty="0" smtClean="0">
                <a:solidFill>
                  <a:srgbClr val="FF0000"/>
                </a:solidFill>
              </a:rPr>
              <a:t> </a:t>
            </a:r>
            <a:r>
              <a:rPr lang="en-US" altLang="ro-RO" sz="1400" b="1" dirty="0" err="1" smtClean="0">
                <a:solidFill>
                  <a:srgbClr val="FF0000"/>
                </a:solidFill>
              </a:rPr>
              <a:t>cresteri</a:t>
            </a:r>
            <a:r>
              <a:rPr lang="en-US" altLang="ro-RO" sz="1400" b="1" dirty="0" smtClean="0">
                <a:solidFill>
                  <a:srgbClr val="FF0000"/>
                </a:solidFill>
              </a:rPr>
              <a:t> (+) / </a:t>
            </a:r>
            <a:r>
              <a:rPr lang="en-US" altLang="ro-RO" sz="1400" b="1" dirty="0" err="1" smtClean="0">
                <a:solidFill>
                  <a:srgbClr val="FF0000"/>
                </a:solidFill>
              </a:rPr>
              <a:t>scaderi</a:t>
            </a:r>
            <a:r>
              <a:rPr lang="en-US" altLang="ro-RO" sz="1400" b="1" dirty="0" smtClean="0">
                <a:solidFill>
                  <a:srgbClr val="FF0000"/>
                </a:solidFill>
              </a:rPr>
              <a:t> (-) ale </a:t>
            </a:r>
            <a:r>
              <a:rPr lang="en-US" altLang="ro-RO" sz="1400" b="1" dirty="0" err="1" smtClean="0">
                <a:solidFill>
                  <a:srgbClr val="FF0000"/>
                </a:solidFill>
              </a:rPr>
              <a:t>cifrei</a:t>
            </a:r>
            <a:r>
              <a:rPr lang="en-US" altLang="ro-RO" sz="1400" b="1" dirty="0" smtClean="0">
                <a:solidFill>
                  <a:srgbClr val="FF0000"/>
                </a:solidFill>
              </a:rPr>
              <a:t> de </a:t>
            </a:r>
            <a:r>
              <a:rPr lang="en-US" altLang="ro-RO" sz="1400" b="1" dirty="0" err="1" smtClean="0">
                <a:solidFill>
                  <a:srgbClr val="FF0000"/>
                </a:solidFill>
              </a:rPr>
              <a:t>afaceri</a:t>
            </a:r>
            <a:r>
              <a:rPr lang="en-US" altLang="ro-RO" sz="1400" b="1" dirty="0" smtClean="0">
                <a:solidFill>
                  <a:srgbClr val="FF0000"/>
                </a:solidFill>
              </a:rPr>
              <a:t> in </a:t>
            </a:r>
            <a:r>
              <a:rPr lang="en-US" altLang="ro-RO" sz="1400" b="1" dirty="0" err="1" smtClean="0">
                <a:solidFill>
                  <a:srgbClr val="FF0000"/>
                </a:solidFill>
              </a:rPr>
              <a:t>ultimul</a:t>
            </a:r>
            <a:r>
              <a:rPr lang="en-US" altLang="ro-RO" sz="1400" b="1" dirty="0" smtClean="0">
                <a:solidFill>
                  <a:srgbClr val="FF0000"/>
                </a:solidFill>
              </a:rPr>
              <a:t> </a:t>
            </a:r>
            <a:r>
              <a:rPr lang="en-US" altLang="ro-RO" sz="1400" b="1" dirty="0" err="1" smtClean="0">
                <a:solidFill>
                  <a:srgbClr val="FF0000"/>
                </a:solidFill>
              </a:rPr>
              <a:t>deceniu</a:t>
            </a:r>
            <a:r>
              <a:rPr lang="en-US" altLang="ro-RO" sz="1400" b="1" dirty="0" smtClean="0">
                <a:solidFill>
                  <a:srgbClr val="FF0000"/>
                </a:solidFill>
              </a:rPr>
              <a:t> </a:t>
            </a:r>
            <a:endParaRPr lang="ro-RO" altLang="ro-RO" sz="1400" dirty="0">
              <a:solidFill>
                <a:srgbClr val="FF0000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2250306"/>
              </p:ext>
            </p:extLst>
          </p:nvPr>
        </p:nvGraphicFramePr>
        <p:xfrm>
          <a:off x="319009" y="1497761"/>
          <a:ext cx="3959077" cy="4800600"/>
        </p:xfrm>
        <a:graphic>
          <a:graphicData uri="http://schemas.openxmlformats.org/drawingml/2006/table">
            <a:tbl>
              <a:tblPr/>
              <a:tblGrid>
                <a:gridCol w="249594"/>
                <a:gridCol w="464761"/>
                <a:gridCol w="3244722"/>
              </a:tblGrid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N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CAEN</a:t>
                      </a:r>
                      <a:endParaRPr lang="ro-RO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CAEN Tex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5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pararea echipamentelor de comunicati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82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ivitati de contractare, pe baze temporare, a personalulu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6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ivitati de asistenta spitaliceasc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79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ert cu amanuntul prin intermediul caselor de comenzi sau prin Interne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31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ivitati ale centrelor de fitnes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22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ivitati ale centrelor de intermediere telefonica (call center)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65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ert cu ridicata de componente si echipamente electronice si de telecomunicati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79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bricarea altor echipamente electric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3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ivitati ale portalurilor web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62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ivitati de asistenta stomatologic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1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ivitati de arhitectur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78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ert cu amanuntul prin standuri, chioscuri si piete al altor produs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2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ucrari de constructii a drumurilor si autostrazilo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6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bricarea betonulu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42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ivitati fotografic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8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ivitati de editare a revistelor si periodicelo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81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ivitati de editare a ziarelo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12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ultivarea arbustilor fructiferi, capsunilor, nuciferilor si a altor pomi fructifer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3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ucrari de demolare a constructiilo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42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ivitati ale holdingurilo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3769" y="1491344"/>
            <a:ext cx="4171950" cy="4898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1993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95287" y="232003"/>
            <a:ext cx="8353426" cy="323165"/>
          </a:xfrm>
        </p:spPr>
        <p:txBody>
          <a:bodyPr/>
          <a:lstStyle/>
          <a:p>
            <a:r>
              <a:rPr lang="en-US" sz="2000" dirty="0" err="1" smtClean="0"/>
              <a:t>Evolutia</a:t>
            </a:r>
            <a:r>
              <a:rPr lang="en-US" sz="2000" dirty="0" smtClean="0"/>
              <a:t> </a:t>
            </a:r>
            <a:r>
              <a:rPr lang="en-US" sz="2000" dirty="0" err="1" smtClean="0"/>
              <a:t>cifrei</a:t>
            </a:r>
            <a:r>
              <a:rPr lang="en-US" sz="2000" dirty="0" smtClean="0"/>
              <a:t> de </a:t>
            </a:r>
            <a:r>
              <a:rPr lang="en-US" sz="2000" dirty="0" err="1" smtClean="0"/>
              <a:t>afaceri</a:t>
            </a:r>
            <a:r>
              <a:rPr lang="en-US" sz="2000" dirty="0" smtClean="0"/>
              <a:t> – </a:t>
            </a:r>
            <a:r>
              <a:rPr lang="en-US" sz="2000" dirty="0" err="1" smtClean="0"/>
              <a:t>dinamica</a:t>
            </a:r>
            <a:r>
              <a:rPr lang="en-US" sz="2000" dirty="0" smtClean="0"/>
              <a:t> </a:t>
            </a:r>
            <a:r>
              <a:rPr lang="en-US" sz="2000" dirty="0" err="1" smtClean="0"/>
              <a:t>pe</a:t>
            </a:r>
            <a:r>
              <a:rPr lang="en-US" sz="2000" dirty="0" smtClean="0"/>
              <a:t> </a:t>
            </a:r>
            <a:r>
              <a:rPr lang="en-US" sz="2000" dirty="0" err="1" smtClean="0"/>
              <a:t>termen</a:t>
            </a:r>
            <a:r>
              <a:rPr lang="en-US" sz="2000" dirty="0" smtClean="0"/>
              <a:t> </a:t>
            </a:r>
            <a:r>
              <a:rPr lang="en-US" sz="2000" dirty="0" err="1" smtClean="0"/>
              <a:t>scurt</a:t>
            </a:r>
            <a:r>
              <a:rPr lang="en-US" sz="2000" dirty="0" smtClean="0"/>
              <a:t> (‘17 vs ‘16)</a:t>
            </a:r>
            <a:endParaRPr lang="ro-RO" sz="2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25000" lnSpcReduction="20000"/>
          </a:bodyPr>
          <a:lstStyle/>
          <a:p>
            <a:endParaRPr lang="ro-RO"/>
          </a:p>
        </p:txBody>
      </p:sp>
      <p:sp>
        <p:nvSpPr>
          <p:cNvPr id="15" name="Rectangle 1"/>
          <p:cNvSpPr>
            <a:spLocks noChangeArrowheads="1"/>
          </p:cNvSpPr>
          <p:nvPr/>
        </p:nvSpPr>
        <p:spPr bwMode="auto">
          <a:xfrm>
            <a:off x="493185" y="838200"/>
            <a:ext cx="853379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400" b="1" dirty="0" smtClean="0">
                <a:solidFill>
                  <a:schemeClr val="accent5"/>
                </a:solidFill>
              </a:rPr>
              <a:t>TOP 10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sectoare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cu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cele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mai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mari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cresteri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(+) /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scaderi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(-) ale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cifrei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de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afaceri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in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ultimul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an</a:t>
            </a:r>
            <a:endParaRPr lang="ro-RO" altLang="ro-RO" sz="1400" dirty="0">
              <a:solidFill>
                <a:schemeClr val="accent5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4242" y="1219200"/>
            <a:ext cx="3807358" cy="4893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6580338"/>
              </p:ext>
            </p:extLst>
          </p:nvPr>
        </p:nvGraphicFramePr>
        <p:xfrm>
          <a:off x="152400" y="1219200"/>
          <a:ext cx="4966908" cy="51217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0370"/>
                <a:gridCol w="548171"/>
                <a:gridCol w="4168367"/>
              </a:tblGrid>
              <a:tr h="244929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Nr</a:t>
                      </a:r>
                      <a:endParaRPr lang="ro-RO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 smtClean="0">
                          <a:effectLst/>
                        </a:rPr>
                        <a:t>CAEN</a:t>
                      </a:r>
                      <a:endParaRPr lang="ro-RO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CAEN_Text</a:t>
                      </a:r>
                      <a:endParaRPr lang="ro-RO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1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4661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u="none" strike="noStrike" dirty="0">
                          <a:effectLst/>
                        </a:rPr>
                        <a:t>Comert cu ridicata al masinilor agricole, echipamentelor si furniturilor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2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8623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000" u="none" strike="noStrike" dirty="0">
                          <a:effectLst/>
                        </a:rPr>
                        <a:t>Activitati de asistenta stomatologica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3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4777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u="none" strike="noStrike" dirty="0">
                          <a:effectLst/>
                        </a:rPr>
                        <a:t>Comert cu amanuntul al ceasurilor si bijuteriilor, in magazine specializate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4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3832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000" u="none" strike="noStrike" dirty="0">
                          <a:effectLst/>
                        </a:rPr>
                        <a:t>Recuperarea materialelor reciclabile sortate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5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4110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000" u="none" strike="noStrike" dirty="0">
                          <a:effectLst/>
                        </a:rPr>
                        <a:t>Dezvoltare (promovare) imobiliara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6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9329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u="none" strike="noStrike" dirty="0">
                          <a:effectLst/>
                        </a:rPr>
                        <a:t>Alte activitati recreative si distractive n.c.a.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7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4611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u="none" strike="noStrike" dirty="0">
                          <a:effectLst/>
                        </a:rPr>
                        <a:t>Intermedieri in comertul cu materii prime agricole si, animale vii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8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4764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u="none" strike="noStrike" dirty="0">
                          <a:effectLst/>
                        </a:rPr>
                        <a:t>Comert cu amanuntul al echipamentelor sportive, in magazine specializate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9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4677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u="none" strike="noStrike" dirty="0">
                          <a:effectLst/>
                        </a:rPr>
                        <a:t>Comert cu ridicata al deseurilor si resturilor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10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8299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000" u="none" strike="noStrike" dirty="0">
                          <a:effectLst/>
                        </a:rPr>
                        <a:t>Alte activitati de servicii suport pentru intreprinderi n.c.a.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11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4751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u="none" strike="noStrike" dirty="0">
                          <a:effectLst/>
                        </a:rPr>
                        <a:t>Comert cu amanuntul al textilelor, in magazine specializate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12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4642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u="none" strike="noStrike" dirty="0">
                          <a:effectLst/>
                        </a:rPr>
                        <a:t>Comert cu ridicata al imbracamintei si incaltamintei</a:t>
                      </a:r>
                      <a:endParaRPr lang="it-IT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13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1061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000" u="none" strike="noStrike" dirty="0">
                          <a:effectLst/>
                        </a:rPr>
                        <a:t>Fabricarea produselor de morarit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14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4932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000" u="none" strike="noStrike" dirty="0">
                          <a:effectLst/>
                        </a:rPr>
                        <a:t>Transporturi cu taxiuri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15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3511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000" u="none" strike="noStrike" dirty="0">
                          <a:effectLst/>
                        </a:rPr>
                        <a:t>Productia de energie electrica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16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4211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000" u="none" strike="noStrike" dirty="0">
                          <a:effectLst/>
                        </a:rPr>
                        <a:t>Lucrari de constructii a drumurilor si autostrazilor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17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5811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000" u="none" strike="noStrike" dirty="0">
                          <a:effectLst/>
                        </a:rPr>
                        <a:t>Activitati de editare a cartilor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18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5813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000" u="none" strike="noStrike" dirty="0">
                          <a:effectLst/>
                        </a:rPr>
                        <a:t>Activitati de editare a ziarelor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19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6622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000" u="none" strike="noStrike" dirty="0">
                          <a:effectLst/>
                        </a:rPr>
                        <a:t>Activitati ale agentilor si broker-ilor de asigurari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>
                          <a:effectLst/>
                        </a:rPr>
                        <a:t>20</a:t>
                      </a:r>
                      <a:endParaRPr lang="ro-RO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u="none" strike="noStrike" dirty="0">
                          <a:effectLst/>
                        </a:rPr>
                        <a:t>4782</a:t>
                      </a:r>
                      <a:endParaRPr lang="ro-RO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u="none" strike="noStrike" dirty="0">
                          <a:effectLst/>
                        </a:rPr>
                        <a:t>Comert cu amanuntul al textilelor, imbracamintei si incaltamintei</a:t>
                      </a:r>
                      <a:endParaRPr lang="pt-BR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b"/>
                </a:tc>
              </a:tr>
            </a:tbl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13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882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14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95287" y="395288"/>
            <a:ext cx="8353426" cy="378565"/>
          </a:xfrm>
        </p:spPr>
        <p:txBody>
          <a:bodyPr/>
          <a:lstStyle/>
          <a:p>
            <a:r>
              <a:rPr lang="en-US" dirty="0" err="1" smtClean="0"/>
              <a:t>Evolutia</a:t>
            </a:r>
            <a:r>
              <a:rPr lang="en-US" dirty="0" smtClean="0"/>
              <a:t> </a:t>
            </a:r>
            <a:r>
              <a:rPr lang="en-US" dirty="0" err="1" smtClean="0"/>
              <a:t>veniturilor</a:t>
            </a:r>
            <a:r>
              <a:rPr lang="en-US" dirty="0" smtClean="0"/>
              <a:t> </a:t>
            </a:r>
            <a:r>
              <a:rPr lang="en-US" dirty="0" err="1" smtClean="0"/>
              <a:t>companiilor</a:t>
            </a:r>
            <a:r>
              <a:rPr lang="en-US" dirty="0" smtClean="0"/>
              <a:t> – </a:t>
            </a:r>
            <a:r>
              <a:rPr lang="en-US" dirty="0" err="1" smtClean="0"/>
              <a:t>concluzii</a:t>
            </a:r>
            <a:r>
              <a:rPr lang="en-US" dirty="0" smtClean="0"/>
              <a:t> </a:t>
            </a:r>
            <a:endParaRPr lang="ro-R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25000" lnSpcReduction="20000"/>
          </a:bodyPr>
          <a:lstStyle/>
          <a:p>
            <a:endParaRPr lang="ro-RO"/>
          </a:p>
        </p:txBody>
      </p:sp>
      <p:sp>
        <p:nvSpPr>
          <p:cNvPr id="7" name="TextBox 6"/>
          <p:cNvSpPr txBox="1"/>
          <p:nvPr/>
        </p:nvSpPr>
        <p:spPr>
          <a:xfrm>
            <a:off x="381000" y="990600"/>
            <a:ext cx="8382000" cy="5616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>
              <a:buFont typeface="+mj-lt"/>
              <a:buAutoNum type="arabicPeriod"/>
            </a:pPr>
            <a:r>
              <a:rPr lang="en-US" sz="1600" dirty="0" err="1"/>
              <a:t>preponderența</a:t>
            </a:r>
            <a:r>
              <a:rPr lang="en-US" sz="1600" dirty="0"/>
              <a:t> </a:t>
            </a:r>
            <a:r>
              <a:rPr lang="en-US" sz="1600" dirty="0" err="1"/>
              <a:t>activităților</a:t>
            </a:r>
            <a:r>
              <a:rPr lang="en-US" sz="1600" dirty="0"/>
              <a:t> de </a:t>
            </a:r>
            <a:r>
              <a:rPr lang="en-US" sz="1600" dirty="0" err="1"/>
              <a:t>comerț</a:t>
            </a:r>
            <a:r>
              <a:rPr lang="en-US" sz="1600" dirty="0"/>
              <a:t> </a:t>
            </a:r>
            <a:r>
              <a:rPr lang="en-US" sz="1600" dirty="0" err="1"/>
              <a:t>orientat</a:t>
            </a:r>
            <a:r>
              <a:rPr lang="en-US" sz="1600" dirty="0"/>
              <a:t> </a:t>
            </a:r>
            <a:r>
              <a:rPr lang="en-US" sz="1600" dirty="0" err="1"/>
              <a:t>către</a:t>
            </a:r>
            <a:r>
              <a:rPr lang="en-US" sz="1600" dirty="0"/>
              <a:t> </a:t>
            </a:r>
            <a:r>
              <a:rPr lang="en-US" sz="1600" dirty="0" err="1"/>
              <a:t>consum</a:t>
            </a:r>
            <a:r>
              <a:rPr lang="en-US" sz="1600" dirty="0"/>
              <a:t> </a:t>
            </a:r>
            <a:endParaRPr lang="en-US" sz="1600" dirty="0" smtClean="0"/>
          </a:p>
          <a:p>
            <a:pPr marL="228600" lvl="0" indent="-228600" algn="just">
              <a:buFont typeface="+mj-lt"/>
              <a:buAutoNum type="arabicPeriod"/>
            </a:pPr>
            <a:endParaRPr lang="en-US" sz="300" dirty="0" smtClean="0"/>
          </a:p>
          <a:p>
            <a:pPr marL="342900" lvl="0" indent="-342900" algn="just">
              <a:buFont typeface="+mj-lt"/>
              <a:buAutoNum type="arabicPeriod"/>
            </a:pPr>
            <a:r>
              <a:rPr lang="en-US" sz="1600" dirty="0" err="1" smtClean="0"/>
              <a:t>dezvoltarea</a:t>
            </a:r>
            <a:r>
              <a:rPr lang="en-US" sz="1600" dirty="0" smtClean="0"/>
              <a:t> </a:t>
            </a:r>
            <a:r>
              <a:rPr lang="en-US" sz="1600" dirty="0" err="1"/>
              <a:t>comerțului</a:t>
            </a:r>
            <a:r>
              <a:rPr lang="en-US" sz="1600" dirty="0"/>
              <a:t> online </a:t>
            </a:r>
            <a:r>
              <a:rPr lang="en-US" sz="1600" dirty="0" err="1"/>
              <a:t>și</a:t>
            </a:r>
            <a:r>
              <a:rPr lang="en-US" sz="1600" dirty="0"/>
              <a:t> </a:t>
            </a:r>
            <a:r>
              <a:rPr lang="en-US" sz="1600" dirty="0" err="1"/>
              <a:t>extinderea</a:t>
            </a:r>
            <a:r>
              <a:rPr lang="en-US" sz="1600" dirty="0"/>
              <a:t> </a:t>
            </a:r>
            <a:r>
              <a:rPr lang="en-US" sz="1600" dirty="0" err="1"/>
              <a:t>echipamentelor</a:t>
            </a:r>
            <a:r>
              <a:rPr lang="en-US" sz="1600" dirty="0"/>
              <a:t> de </a:t>
            </a:r>
            <a:r>
              <a:rPr lang="en-US" sz="1600" dirty="0" err="1"/>
              <a:t>comunicații</a:t>
            </a:r>
            <a:r>
              <a:rPr lang="en-US" sz="1600" dirty="0"/>
              <a:t> </a:t>
            </a:r>
            <a:endParaRPr lang="en-US" sz="1600" dirty="0" smtClean="0"/>
          </a:p>
          <a:p>
            <a:pPr marL="228600" lvl="0" indent="-228600" algn="just">
              <a:buFont typeface="+mj-lt"/>
              <a:buAutoNum type="arabicPeriod"/>
            </a:pPr>
            <a:endParaRPr lang="en-US" sz="300" dirty="0" smtClean="0"/>
          </a:p>
          <a:p>
            <a:pPr marL="342900" lvl="0" indent="-342900" algn="just">
              <a:buFont typeface="+mj-lt"/>
              <a:buAutoNum type="arabicPeriod"/>
            </a:pPr>
            <a:r>
              <a:rPr lang="en-US" sz="1600" dirty="0" err="1" smtClean="0"/>
              <a:t>probleme</a:t>
            </a:r>
            <a:r>
              <a:rPr lang="en-US" sz="1600" dirty="0" smtClean="0"/>
              <a:t> </a:t>
            </a:r>
            <a:r>
              <a:rPr lang="en-US" sz="1600" dirty="0" err="1"/>
              <a:t>demografice</a:t>
            </a:r>
            <a:r>
              <a:rPr lang="en-US" sz="1600" dirty="0"/>
              <a:t> </a:t>
            </a:r>
            <a:r>
              <a:rPr lang="en-US" sz="1600" dirty="0" err="1"/>
              <a:t>prin</a:t>
            </a:r>
            <a:r>
              <a:rPr lang="en-US" sz="1600" dirty="0"/>
              <a:t> </a:t>
            </a:r>
            <a:r>
              <a:rPr lang="en-US" sz="1600" dirty="0" err="1"/>
              <a:t>îmbătrânirea</a:t>
            </a:r>
            <a:r>
              <a:rPr lang="en-US" sz="1600" dirty="0"/>
              <a:t> </a:t>
            </a:r>
            <a:r>
              <a:rPr lang="en-US" sz="1600" dirty="0" err="1"/>
              <a:t>populației</a:t>
            </a:r>
            <a:r>
              <a:rPr lang="en-US" sz="1600" dirty="0"/>
              <a:t> care </a:t>
            </a:r>
            <a:r>
              <a:rPr lang="en-US" sz="1600" dirty="0" err="1"/>
              <a:t>oferă</a:t>
            </a:r>
            <a:r>
              <a:rPr lang="en-US" sz="1600" dirty="0"/>
              <a:t> </a:t>
            </a:r>
            <a:r>
              <a:rPr lang="en-US" sz="1600" dirty="0" err="1"/>
              <a:t>oportunități</a:t>
            </a:r>
            <a:r>
              <a:rPr lang="en-US" sz="1600" dirty="0"/>
              <a:t> de </a:t>
            </a:r>
            <a:r>
              <a:rPr lang="en-US" sz="1600" dirty="0" err="1"/>
              <a:t>creștere</a:t>
            </a:r>
            <a:r>
              <a:rPr lang="en-US" sz="1600" dirty="0"/>
              <a:t> </a:t>
            </a:r>
            <a:r>
              <a:rPr lang="en-US" sz="1600" dirty="0" err="1"/>
              <a:t>profitabilă</a:t>
            </a:r>
            <a:r>
              <a:rPr lang="en-US" sz="1600" dirty="0"/>
              <a:t> </a:t>
            </a:r>
            <a:r>
              <a:rPr lang="en-US" sz="1600" dirty="0" err="1"/>
              <a:t>unor</a:t>
            </a:r>
            <a:r>
              <a:rPr lang="en-US" sz="1600" dirty="0"/>
              <a:t> </a:t>
            </a:r>
            <a:r>
              <a:rPr lang="en-US" sz="1600" dirty="0" err="1"/>
              <a:t>sectoare</a:t>
            </a:r>
            <a:r>
              <a:rPr lang="en-US" sz="1600" dirty="0"/>
              <a:t> de </a:t>
            </a:r>
            <a:r>
              <a:rPr lang="en-US" sz="1600" dirty="0" err="1"/>
              <a:t>asistență</a:t>
            </a:r>
            <a:r>
              <a:rPr lang="en-US" sz="1600" dirty="0"/>
              <a:t> </a:t>
            </a:r>
            <a:r>
              <a:rPr lang="en-US" sz="1600" dirty="0" err="1"/>
              <a:t>spitalicească</a:t>
            </a:r>
            <a:r>
              <a:rPr lang="en-US" sz="1600" dirty="0"/>
              <a:t> (</a:t>
            </a:r>
            <a:r>
              <a:rPr lang="en-US" sz="1600" dirty="0" err="1"/>
              <a:t>azile</a:t>
            </a:r>
            <a:r>
              <a:rPr lang="en-US" sz="1600" dirty="0"/>
              <a:t> de </a:t>
            </a:r>
            <a:r>
              <a:rPr lang="en-US" sz="1600" dirty="0" err="1"/>
              <a:t>bătrâni</a:t>
            </a:r>
            <a:r>
              <a:rPr lang="en-US" sz="1600" dirty="0"/>
              <a:t>) </a:t>
            </a:r>
            <a:r>
              <a:rPr lang="en-US" sz="1600" dirty="0" err="1"/>
              <a:t>sau</a:t>
            </a:r>
            <a:r>
              <a:rPr lang="en-US" sz="1600" dirty="0"/>
              <a:t> </a:t>
            </a:r>
            <a:r>
              <a:rPr lang="en-US" sz="1600" dirty="0" err="1"/>
              <a:t>servicii</a:t>
            </a:r>
            <a:r>
              <a:rPr lang="en-US" sz="1600" dirty="0"/>
              <a:t> </a:t>
            </a:r>
            <a:r>
              <a:rPr lang="en-US" sz="1600" dirty="0" err="1"/>
              <a:t>stomatologice</a:t>
            </a:r>
            <a:r>
              <a:rPr lang="en-US" sz="1600" dirty="0"/>
              <a:t>  </a:t>
            </a:r>
            <a:endParaRPr lang="en-US" sz="1600" dirty="0" smtClean="0"/>
          </a:p>
          <a:p>
            <a:pPr marL="228600" lvl="0" indent="-228600" algn="just">
              <a:buFont typeface="+mj-lt"/>
              <a:buAutoNum type="arabicPeriod"/>
            </a:pPr>
            <a:endParaRPr lang="ro-RO" sz="300" dirty="0"/>
          </a:p>
          <a:p>
            <a:pPr marL="342900" lvl="0" indent="-342900" algn="just">
              <a:buFont typeface="+mj-lt"/>
              <a:buAutoNum type="arabicPeriod"/>
            </a:pPr>
            <a:r>
              <a:rPr lang="en-US" sz="1600" dirty="0" err="1"/>
              <a:t>probleme</a:t>
            </a:r>
            <a:r>
              <a:rPr lang="en-US" sz="1600" dirty="0"/>
              <a:t> </a:t>
            </a:r>
            <a:r>
              <a:rPr lang="en-US" sz="1600" dirty="0" err="1"/>
              <a:t>generalizate</a:t>
            </a:r>
            <a:r>
              <a:rPr lang="en-US" sz="1600" dirty="0"/>
              <a:t> (</a:t>
            </a:r>
            <a:r>
              <a:rPr lang="en-US" sz="1600" dirty="0" err="1"/>
              <a:t>pe</a:t>
            </a:r>
            <a:r>
              <a:rPr lang="en-US" sz="1600" dirty="0"/>
              <a:t> </a:t>
            </a:r>
            <a:r>
              <a:rPr lang="en-US" sz="1600" dirty="0" err="1"/>
              <a:t>termen</a:t>
            </a:r>
            <a:r>
              <a:rPr lang="en-US" sz="1600" dirty="0"/>
              <a:t> lung </a:t>
            </a:r>
            <a:r>
              <a:rPr lang="en-US" sz="1600" dirty="0" err="1"/>
              <a:t>și</a:t>
            </a:r>
            <a:r>
              <a:rPr lang="en-US" sz="1600" dirty="0"/>
              <a:t> </a:t>
            </a:r>
            <a:r>
              <a:rPr lang="en-US" sz="1600" dirty="0" err="1"/>
              <a:t>pe</a:t>
            </a:r>
            <a:r>
              <a:rPr lang="en-US" sz="1600" dirty="0"/>
              <a:t> </a:t>
            </a:r>
            <a:r>
              <a:rPr lang="en-US" sz="1600" dirty="0" err="1"/>
              <a:t>termen</a:t>
            </a:r>
            <a:r>
              <a:rPr lang="en-US" sz="1600" dirty="0"/>
              <a:t> </a:t>
            </a:r>
            <a:r>
              <a:rPr lang="en-US" sz="1600" dirty="0" err="1"/>
              <a:t>scurt</a:t>
            </a:r>
            <a:r>
              <a:rPr lang="en-US" sz="1600" dirty="0"/>
              <a:t>) </a:t>
            </a:r>
            <a:r>
              <a:rPr lang="en-US" sz="1600" dirty="0" err="1"/>
              <a:t>în</a:t>
            </a:r>
            <a:r>
              <a:rPr lang="en-US" sz="1600" dirty="0"/>
              <a:t> </a:t>
            </a:r>
            <a:r>
              <a:rPr lang="en-US" sz="1600" dirty="0" err="1"/>
              <a:t>sectorul</a:t>
            </a:r>
            <a:r>
              <a:rPr lang="en-US" sz="1600" dirty="0"/>
              <a:t> </a:t>
            </a:r>
            <a:r>
              <a:rPr lang="en-US" sz="1600" dirty="0" err="1"/>
              <a:t>construcțiilor</a:t>
            </a:r>
            <a:r>
              <a:rPr lang="en-US" sz="1600" dirty="0"/>
              <a:t> de </a:t>
            </a:r>
            <a:r>
              <a:rPr lang="en-US" sz="1600" dirty="0" err="1"/>
              <a:t>drumuri</a:t>
            </a:r>
            <a:r>
              <a:rPr lang="en-US" sz="1600" dirty="0"/>
              <a:t> </a:t>
            </a:r>
            <a:r>
              <a:rPr lang="en-US" sz="1600" dirty="0" err="1"/>
              <a:t>și</a:t>
            </a:r>
            <a:r>
              <a:rPr lang="en-US" sz="1600" dirty="0"/>
              <a:t> </a:t>
            </a:r>
            <a:r>
              <a:rPr lang="en-US" sz="1600" dirty="0" err="1"/>
              <a:t>autostrăzi</a:t>
            </a:r>
            <a:r>
              <a:rPr lang="en-US" sz="1600" dirty="0"/>
              <a:t>, cu impact </a:t>
            </a:r>
            <a:r>
              <a:rPr lang="en-US" sz="1600" dirty="0" err="1"/>
              <a:t>negativ</a:t>
            </a:r>
            <a:r>
              <a:rPr lang="en-US" sz="1600" dirty="0"/>
              <a:t> </a:t>
            </a:r>
            <a:r>
              <a:rPr lang="en-US" sz="1600" dirty="0" err="1"/>
              <a:t>asupra</a:t>
            </a:r>
            <a:r>
              <a:rPr lang="en-US" sz="1600" dirty="0"/>
              <a:t> </a:t>
            </a:r>
            <a:r>
              <a:rPr lang="en-US" sz="1600" dirty="0" err="1"/>
              <a:t>sectoarelor</a:t>
            </a:r>
            <a:r>
              <a:rPr lang="en-US" sz="1600" dirty="0"/>
              <a:t> </a:t>
            </a:r>
            <a:r>
              <a:rPr lang="en-US" sz="1600" dirty="0" err="1"/>
              <a:t>conexe</a:t>
            </a:r>
            <a:r>
              <a:rPr lang="en-US" sz="1600" dirty="0"/>
              <a:t> (</a:t>
            </a:r>
            <a:r>
              <a:rPr lang="en-US" sz="1600" dirty="0" err="1"/>
              <a:t>fabricarea</a:t>
            </a:r>
            <a:r>
              <a:rPr lang="en-US" sz="1600" dirty="0"/>
              <a:t> </a:t>
            </a:r>
            <a:r>
              <a:rPr lang="en-US" sz="1600" dirty="0" err="1"/>
              <a:t>betonului</a:t>
            </a:r>
            <a:r>
              <a:rPr lang="en-US" sz="1600" dirty="0"/>
              <a:t>), </a:t>
            </a:r>
            <a:endParaRPr lang="en-US" sz="1600" dirty="0" smtClean="0"/>
          </a:p>
          <a:p>
            <a:pPr marL="228600" lvl="0" indent="-228600" algn="just">
              <a:buFont typeface="+mj-lt"/>
              <a:buAutoNum type="arabicPeriod"/>
            </a:pPr>
            <a:endParaRPr lang="ro-RO" sz="300" dirty="0"/>
          </a:p>
          <a:p>
            <a:pPr marL="342900" lvl="0" indent="-342900" algn="just">
              <a:buFont typeface="+mj-lt"/>
              <a:buAutoNum type="arabicPeriod"/>
            </a:pPr>
            <a:r>
              <a:rPr lang="en-US" sz="1600" dirty="0" err="1"/>
              <a:t>îngenuncherea</a:t>
            </a:r>
            <a:r>
              <a:rPr lang="en-US" sz="1600" dirty="0"/>
              <a:t> </a:t>
            </a:r>
            <a:r>
              <a:rPr lang="en-US" sz="1600" dirty="0" err="1"/>
              <a:t>industriei</a:t>
            </a:r>
            <a:r>
              <a:rPr lang="en-US" sz="1600" dirty="0"/>
              <a:t> de textile </a:t>
            </a:r>
            <a:r>
              <a:rPr lang="en-US" sz="1600" dirty="0" err="1"/>
              <a:t>pe</a:t>
            </a:r>
            <a:r>
              <a:rPr lang="en-US" sz="1600" dirty="0"/>
              <a:t> </a:t>
            </a:r>
            <a:r>
              <a:rPr lang="en-US" sz="1600" dirty="0" err="1"/>
              <a:t>întreg</a:t>
            </a:r>
            <a:r>
              <a:rPr lang="en-US" sz="1600" dirty="0"/>
              <a:t> </a:t>
            </a:r>
            <a:r>
              <a:rPr lang="en-US" sz="1600" dirty="0" err="1"/>
              <a:t>lanțul</a:t>
            </a:r>
            <a:r>
              <a:rPr lang="en-US" sz="1600" dirty="0"/>
              <a:t> (</a:t>
            </a:r>
            <a:r>
              <a:rPr lang="en-US" sz="1600" dirty="0" err="1"/>
              <a:t>producție</a:t>
            </a:r>
            <a:r>
              <a:rPr lang="en-US" sz="1600" dirty="0"/>
              <a:t>, </a:t>
            </a:r>
            <a:r>
              <a:rPr lang="en-US" sz="1600" dirty="0" err="1"/>
              <a:t>distribuție</a:t>
            </a:r>
            <a:r>
              <a:rPr lang="en-US" sz="1600" dirty="0"/>
              <a:t>, retail), care </a:t>
            </a:r>
            <a:r>
              <a:rPr lang="en-US" sz="1600" dirty="0" err="1"/>
              <a:t>este</a:t>
            </a:r>
            <a:r>
              <a:rPr lang="en-US" sz="1600" dirty="0"/>
              <a:t> </a:t>
            </a:r>
            <a:r>
              <a:rPr lang="en-US" sz="1600" dirty="0" err="1"/>
              <a:t>distrusă</a:t>
            </a:r>
            <a:r>
              <a:rPr lang="en-US" sz="1600" dirty="0"/>
              <a:t> de </a:t>
            </a:r>
            <a:r>
              <a:rPr lang="en-US" sz="1600" dirty="0" err="1"/>
              <a:t>majorarea</a:t>
            </a:r>
            <a:r>
              <a:rPr lang="en-US" sz="1600" dirty="0"/>
              <a:t> </a:t>
            </a:r>
            <a:r>
              <a:rPr lang="en-US" sz="1600" dirty="0" err="1"/>
              <a:t>salariului</a:t>
            </a:r>
            <a:r>
              <a:rPr lang="en-US" sz="1600" dirty="0"/>
              <a:t> minim </a:t>
            </a:r>
            <a:r>
              <a:rPr lang="en-US" sz="1600" dirty="0" err="1"/>
              <a:t>pe</a:t>
            </a:r>
            <a:r>
              <a:rPr lang="en-US" sz="1600" dirty="0"/>
              <a:t> </a:t>
            </a:r>
            <a:r>
              <a:rPr lang="en-US" sz="1600" dirty="0" err="1"/>
              <a:t>economie</a:t>
            </a:r>
            <a:r>
              <a:rPr lang="en-US" sz="1600" dirty="0"/>
              <a:t>, a </a:t>
            </a:r>
            <a:r>
              <a:rPr lang="en-US" sz="1600" dirty="0" err="1"/>
              <a:t>cheltuielilor</a:t>
            </a:r>
            <a:r>
              <a:rPr lang="en-US" sz="1600" dirty="0"/>
              <a:t> </a:t>
            </a:r>
            <a:r>
              <a:rPr lang="en-US" sz="1600" dirty="0" err="1"/>
              <a:t>ridicate</a:t>
            </a:r>
            <a:r>
              <a:rPr lang="en-US" sz="1600" dirty="0"/>
              <a:t> de transport </a:t>
            </a:r>
            <a:r>
              <a:rPr lang="en-US" sz="1600" dirty="0" err="1"/>
              <a:t>și</a:t>
            </a:r>
            <a:r>
              <a:rPr lang="en-US" sz="1600" dirty="0"/>
              <a:t> </a:t>
            </a:r>
            <a:r>
              <a:rPr lang="en-US" sz="1600" dirty="0" err="1"/>
              <a:t>costurilor</a:t>
            </a:r>
            <a:r>
              <a:rPr lang="en-US" sz="1600" dirty="0"/>
              <a:t> de </a:t>
            </a:r>
            <a:r>
              <a:rPr lang="en-US" sz="1600" dirty="0" err="1"/>
              <a:t>finanțare</a:t>
            </a:r>
            <a:r>
              <a:rPr lang="en-US" sz="1600" dirty="0"/>
              <a:t>; </a:t>
            </a:r>
            <a:endParaRPr lang="en-US" sz="1600" dirty="0" smtClean="0"/>
          </a:p>
          <a:p>
            <a:pPr marL="228600" lvl="0" indent="-228600" algn="just">
              <a:buFont typeface="+mj-lt"/>
              <a:buAutoNum type="arabicPeriod"/>
            </a:pPr>
            <a:endParaRPr lang="ro-RO" sz="300" dirty="0"/>
          </a:p>
          <a:p>
            <a:pPr marL="342900" lvl="0" indent="-342900" algn="just">
              <a:buFont typeface="+mj-lt"/>
              <a:buAutoNum type="arabicPeriod"/>
            </a:pPr>
            <a:r>
              <a:rPr lang="en-US" sz="1600" dirty="0" err="1"/>
              <a:t>înlocuirea</a:t>
            </a:r>
            <a:r>
              <a:rPr lang="en-US" sz="1600" dirty="0"/>
              <a:t> </a:t>
            </a:r>
            <a:r>
              <a:rPr lang="en-US" sz="1600" dirty="0" err="1"/>
              <a:t>graduală</a:t>
            </a:r>
            <a:r>
              <a:rPr lang="en-US" sz="1600" dirty="0"/>
              <a:t> a </a:t>
            </a:r>
            <a:r>
              <a:rPr lang="en-US" sz="1600" dirty="0" err="1"/>
              <a:t>comerțului</a:t>
            </a:r>
            <a:r>
              <a:rPr lang="en-US" sz="1600" dirty="0"/>
              <a:t> </a:t>
            </a:r>
            <a:r>
              <a:rPr lang="en-US" sz="1600" dirty="0" err="1"/>
              <a:t>tradițional</a:t>
            </a:r>
            <a:r>
              <a:rPr lang="en-US" sz="1600" dirty="0"/>
              <a:t> (</a:t>
            </a:r>
            <a:r>
              <a:rPr lang="en-US" sz="1600" dirty="0" err="1"/>
              <a:t>prin</a:t>
            </a:r>
            <a:r>
              <a:rPr lang="en-US" sz="1600" dirty="0"/>
              <a:t>  </a:t>
            </a:r>
            <a:r>
              <a:rPr lang="en-US" sz="1600" dirty="0" err="1"/>
              <a:t>standuri</a:t>
            </a:r>
            <a:r>
              <a:rPr lang="en-US" sz="1600" dirty="0"/>
              <a:t>, </a:t>
            </a:r>
            <a:r>
              <a:rPr lang="en-US" sz="1600" dirty="0" err="1"/>
              <a:t>chioșcuri</a:t>
            </a:r>
            <a:r>
              <a:rPr lang="en-US" sz="1600" dirty="0"/>
              <a:t> </a:t>
            </a:r>
            <a:r>
              <a:rPr lang="en-US" sz="1600" dirty="0" err="1"/>
              <a:t>sau</a:t>
            </a:r>
            <a:r>
              <a:rPr lang="en-US" sz="1600" dirty="0"/>
              <a:t> </a:t>
            </a:r>
            <a:r>
              <a:rPr lang="en-US" sz="1600" dirty="0" err="1"/>
              <a:t>piețele</a:t>
            </a:r>
            <a:r>
              <a:rPr lang="en-US" sz="1600" dirty="0"/>
              <a:t> </a:t>
            </a:r>
            <a:r>
              <a:rPr lang="en-US" sz="1600" dirty="0" err="1"/>
              <a:t>clasice</a:t>
            </a:r>
            <a:r>
              <a:rPr lang="en-US" sz="1600" dirty="0"/>
              <a:t>) </a:t>
            </a:r>
            <a:r>
              <a:rPr lang="en-US" sz="1600" dirty="0" err="1"/>
              <a:t>în</a:t>
            </a:r>
            <a:r>
              <a:rPr lang="en-US" sz="1600" dirty="0"/>
              <a:t> </a:t>
            </a:r>
            <a:r>
              <a:rPr lang="en-US" sz="1600" dirty="0" err="1"/>
              <a:t>contextul</a:t>
            </a:r>
            <a:r>
              <a:rPr lang="en-US" sz="1600" dirty="0"/>
              <a:t> </a:t>
            </a:r>
            <a:r>
              <a:rPr lang="en-US" sz="1600" dirty="0" err="1"/>
              <a:t>extinderii</a:t>
            </a:r>
            <a:r>
              <a:rPr lang="en-US" sz="1600" dirty="0"/>
              <a:t> </a:t>
            </a:r>
            <a:r>
              <a:rPr lang="en-US" sz="1600" dirty="0" err="1"/>
              <a:t>marilor</a:t>
            </a:r>
            <a:r>
              <a:rPr lang="en-US" sz="1600" dirty="0"/>
              <a:t> </a:t>
            </a:r>
            <a:r>
              <a:rPr lang="en-US" sz="1600" dirty="0" err="1"/>
              <a:t>supermarketuri</a:t>
            </a:r>
            <a:r>
              <a:rPr lang="en-US" sz="1600" dirty="0"/>
              <a:t> </a:t>
            </a:r>
            <a:r>
              <a:rPr lang="en-US" sz="1600" dirty="0" err="1"/>
              <a:t>și</a:t>
            </a:r>
            <a:r>
              <a:rPr lang="en-US" sz="1600" dirty="0"/>
              <a:t> </a:t>
            </a:r>
            <a:r>
              <a:rPr lang="en-US" sz="1600" dirty="0" err="1"/>
              <a:t>lanțuri</a:t>
            </a:r>
            <a:r>
              <a:rPr lang="en-US" sz="1600" dirty="0"/>
              <a:t> </a:t>
            </a:r>
            <a:r>
              <a:rPr lang="en-US" sz="1600" dirty="0" err="1"/>
              <a:t>internaționale</a:t>
            </a:r>
            <a:r>
              <a:rPr lang="en-US" sz="1600" dirty="0"/>
              <a:t> de retail </a:t>
            </a:r>
            <a:endParaRPr lang="en-US" sz="1600" dirty="0" smtClean="0"/>
          </a:p>
          <a:p>
            <a:pPr marL="228600" lvl="0" indent="-228600" algn="just">
              <a:buFont typeface="+mj-lt"/>
              <a:buAutoNum type="arabicPeriod"/>
            </a:pPr>
            <a:endParaRPr lang="en-US" sz="300" dirty="0"/>
          </a:p>
          <a:p>
            <a:pPr marL="342900" lvl="0" indent="-342900" algn="just">
              <a:buFont typeface="+mj-lt"/>
              <a:buAutoNum type="arabicPeriod"/>
            </a:pPr>
            <a:r>
              <a:rPr lang="en-US" sz="1600" dirty="0" err="1" smtClean="0"/>
              <a:t>perioada</a:t>
            </a:r>
            <a:r>
              <a:rPr lang="en-US" sz="1600" dirty="0" smtClean="0"/>
              <a:t> </a:t>
            </a:r>
            <a:r>
              <a:rPr lang="en-US" sz="1600" dirty="0"/>
              <a:t>de </a:t>
            </a:r>
            <a:r>
              <a:rPr lang="en-US" sz="1600" dirty="0" err="1"/>
              <a:t>creștere</a:t>
            </a:r>
            <a:r>
              <a:rPr lang="en-US" sz="1600" dirty="0"/>
              <a:t> </a:t>
            </a:r>
            <a:r>
              <a:rPr lang="en-US" sz="1600" dirty="0" err="1"/>
              <a:t>economică</a:t>
            </a:r>
            <a:r>
              <a:rPr lang="en-US" sz="1600" dirty="0"/>
              <a:t> </a:t>
            </a:r>
            <a:r>
              <a:rPr lang="en-US" sz="1600" dirty="0" err="1"/>
              <a:t>peste</a:t>
            </a:r>
            <a:r>
              <a:rPr lang="en-US" sz="1600" dirty="0"/>
              <a:t> </a:t>
            </a:r>
            <a:r>
              <a:rPr lang="en-US" sz="1600" dirty="0" err="1"/>
              <a:t>potențial</a:t>
            </a:r>
            <a:r>
              <a:rPr lang="en-US" sz="1600" dirty="0"/>
              <a:t> (</a:t>
            </a:r>
            <a:r>
              <a:rPr lang="en-US" sz="1600" dirty="0" err="1"/>
              <a:t>în</a:t>
            </a:r>
            <a:r>
              <a:rPr lang="en-US" sz="1600" dirty="0"/>
              <a:t> special </a:t>
            </a:r>
            <a:r>
              <a:rPr lang="en-US" sz="1600" dirty="0" err="1"/>
              <a:t>anul</a:t>
            </a:r>
            <a:r>
              <a:rPr lang="en-US" sz="1600" dirty="0"/>
              <a:t> 2017) </a:t>
            </a:r>
            <a:r>
              <a:rPr lang="en-US" sz="1600" dirty="0" err="1"/>
              <a:t>este</a:t>
            </a:r>
            <a:r>
              <a:rPr lang="en-US" sz="1600" dirty="0"/>
              <a:t> </a:t>
            </a:r>
            <a:r>
              <a:rPr lang="en-US" sz="1600" dirty="0" err="1"/>
              <a:t>însoțită</a:t>
            </a:r>
            <a:r>
              <a:rPr lang="en-US" sz="1600" dirty="0"/>
              <a:t> de </a:t>
            </a:r>
            <a:r>
              <a:rPr lang="en-US" sz="1600" dirty="0" err="1"/>
              <a:t>creșteri</a:t>
            </a:r>
            <a:r>
              <a:rPr lang="en-US" sz="1600" dirty="0"/>
              <a:t> </a:t>
            </a:r>
            <a:r>
              <a:rPr lang="en-US" sz="1600" dirty="0" err="1"/>
              <a:t>semnificative</a:t>
            </a:r>
            <a:r>
              <a:rPr lang="en-US" sz="1600" dirty="0"/>
              <a:t> ale </a:t>
            </a:r>
            <a:r>
              <a:rPr lang="en-US" sz="1600" dirty="0" err="1"/>
              <a:t>veniturilor</a:t>
            </a:r>
            <a:r>
              <a:rPr lang="en-US" sz="1600" dirty="0"/>
              <a:t> din </a:t>
            </a:r>
            <a:r>
              <a:rPr lang="en-US" sz="1600" dirty="0" err="1"/>
              <a:t>comerțul</a:t>
            </a:r>
            <a:r>
              <a:rPr lang="en-US" sz="1600" dirty="0"/>
              <a:t> cu </a:t>
            </a:r>
            <a:r>
              <a:rPr lang="en-US" sz="1600" dirty="0" err="1"/>
              <a:t>amănuntul</a:t>
            </a:r>
            <a:r>
              <a:rPr lang="en-US" sz="1600" dirty="0"/>
              <a:t> al </a:t>
            </a:r>
            <a:r>
              <a:rPr lang="en-US" sz="1600" dirty="0" err="1"/>
              <a:t>ceasurilor</a:t>
            </a:r>
            <a:r>
              <a:rPr lang="en-US" sz="1600" dirty="0"/>
              <a:t> </a:t>
            </a:r>
            <a:r>
              <a:rPr lang="en-US" sz="1600" dirty="0" err="1"/>
              <a:t>și</a:t>
            </a:r>
            <a:r>
              <a:rPr lang="en-US" sz="1600" dirty="0"/>
              <a:t> </a:t>
            </a:r>
            <a:r>
              <a:rPr lang="en-US" sz="1600" dirty="0" err="1"/>
              <a:t>bijuteriilor</a:t>
            </a:r>
            <a:r>
              <a:rPr lang="en-US" sz="1600" dirty="0"/>
              <a:t>, </a:t>
            </a:r>
            <a:r>
              <a:rPr lang="en-US" sz="1600" dirty="0" err="1"/>
              <a:t>dezvoltarea</a:t>
            </a:r>
            <a:r>
              <a:rPr lang="en-US" sz="1600" dirty="0"/>
              <a:t> (</a:t>
            </a:r>
            <a:r>
              <a:rPr lang="en-US" sz="1600" dirty="0" err="1"/>
              <a:t>promovarea</a:t>
            </a:r>
            <a:r>
              <a:rPr lang="en-US" sz="1600" dirty="0"/>
              <a:t>) </a:t>
            </a:r>
            <a:r>
              <a:rPr lang="en-US" sz="1600" dirty="0" err="1"/>
              <a:t>imobiliară</a:t>
            </a:r>
            <a:r>
              <a:rPr lang="en-US" sz="1600" dirty="0"/>
              <a:t> </a:t>
            </a:r>
            <a:r>
              <a:rPr lang="en-US" sz="1600" dirty="0" err="1"/>
              <a:t>precum</a:t>
            </a:r>
            <a:r>
              <a:rPr lang="en-US" sz="1600" dirty="0"/>
              <a:t> </a:t>
            </a:r>
            <a:r>
              <a:rPr lang="en-US" sz="1600" dirty="0" err="1"/>
              <a:t>și</a:t>
            </a:r>
            <a:r>
              <a:rPr lang="en-US" sz="1600" dirty="0"/>
              <a:t> </a:t>
            </a:r>
            <a:r>
              <a:rPr lang="en-US" sz="1600" dirty="0" err="1"/>
              <a:t>activități</a:t>
            </a:r>
            <a:r>
              <a:rPr lang="en-US" sz="1600" dirty="0"/>
              <a:t> </a:t>
            </a:r>
            <a:r>
              <a:rPr lang="en-US" sz="1600" dirty="0" err="1"/>
              <a:t>recreative</a:t>
            </a:r>
            <a:r>
              <a:rPr lang="en-US" sz="1600" dirty="0"/>
              <a:t> </a:t>
            </a:r>
            <a:r>
              <a:rPr lang="en-US" sz="1600" dirty="0" err="1"/>
              <a:t>și</a:t>
            </a:r>
            <a:r>
              <a:rPr lang="en-US" sz="1600" dirty="0"/>
              <a:t> distractive; </a:t>
            </a:r>
            <a:endParaRPr lang="en-US" sz="1600" dirty="0" smtClean="0"/>
          </a:p>
          <a:p>
            <a:pPr marL="228600" lvl="0" indent="-228600" algn="just">
              <a:buFont typeface="+mj-lt"/>
              <a:buAutoNum type="arabicPeriod"/>
            </a:pPr>
            <a:endParaRPr lang="ro-RO" sz="300" dirty="0"/>
          </a:p>
          <a:p>
            <a:pPr marL="342900" lvl="0" indent="-342900" algn="just">
              <a:buFont typeface="+mj-lt"/>
              <a:buAutoNum type="arabicPeriod"/>
            </a:pPr>
            <a:r>
              <a:rPr lang="en-US" sz="1600" dirty="0" err="1"/>
              <a:t>există</a:t>
            </a:r>
            <a:r>
              <a:rPr lang="en-US" sz="1600" dirty="0"/>
              <a:t> </a:t>
            </a:r>
            <a:r>
              <a:rPr lang="en-US" sz="1600" dirty="0" err="1"/>
              <a:t>sectoare</a:t>
            </a:r>
            <a:r>
              <a:rPr lang="en-US" sz="1600" dirty="0"/>
              <a:t> </a:t>
            </a:r>
            <a:r>
              <a:rPr lang="en-US" sz="1600" dirty="0" err="1"/>
              <a:t>unde</a:t>
            </a:r>
            <a:r>
              <a:rPr lang="en-US" sz="1600" dirty="0"/>
              <a:t> </a:t>
            </a:r>
            <a:r>
              <a:rPr lang="en-US" sz="1600" dirty="0" err="1"/>
              <a:t>creșterea</a:t>
            </a:r>
            <a:r>
              <a:rPr lang="en-US" sz="1600" dirty="0"/>
              <a:t> </a:t>
            </a:r>
            <a:r>
              <a:rPr lang="en-US" sz="1600" dirty="0" err="1"/>
              <a:t>veniturilor</a:t>
            </a:r>
            <a:r>
              <a:rPr lang="en-US" sz="1600" dirty="0"/>
              <a:t> </a:t>
            </a:r>
            <a:r>
              <a:rPr lang="en-US" sz="1600" dirty="0" err="1"/>
              <a:t>este</a:t>
            </a:r>
            <a:r>
              <a:rPr lang="en-US" sz="1600" dirty="0"/>
              <a:t> </a:t>
            </a:r>
            <a:r>
              <a:rPr lang="en-US" sz="1600" dirty="0" err="1"/>
              <a:t>realizată</a:t>
            </a:r>
            <a:r>
              <a:rPr lang="en-US" sz="1600" dirty="0"/>
              <a:t> </a:t>
            </a:r>
            <a:r>
              <a:rPr lang="en-US" sz="1600" dirty="0" err="1"/>
              <a:t>oportunist</a:t>
            </a:r>
            <a:r>
              <a:rPr lang="en-US" sz="1600" dirty="0"/>
              <a:t>, </a:t>
            </a:r>
            <a:r>
              <a:rPr lang="en-US" sz="1600" dirty="0" err="1"/>
              <a:t>pentru</a:t>
            </a:r>
            <a:r>
              <a:rPr lang="en-US" sz="1600" dirty="0"/>
              <a:t> </a:t>
            </a:r>
            <a:r>
              <a:rPr lang="en-US" sz="1600" dirty="0" err="1"/>
              <a:t>fructificarea</a:t>
            </a:r>
            <a:r>
              <a:rPr lang="en-US" sz="1600" dirty="0"/>
              <a:t> </a:t>
            </a:r>
            <a:r>
              <a:rPr lang="en-US" sz="1600" dirty="0" err="1"/>
              <a:t>oportunităților</a:t>
            </a:r>
            <a:r>
              <a:rPr lang="en-US" sz="1600" dirty="0"/>
              <a:t> </a:t>
            </a:r>
            <a:r>
              <a:rPr lang="en-US" sz="1600" dirty="0" err="1"/>
              <a:t>pe</a:t>
            </a:r>
            <a:r>
              <a:rPr lang="en-US" sz="1600" dirty="0"/>
              <a:t> </a:t>
            </a:r>
            <a:r>
              <a:rPr lang="en-US" sz="1600" dirty="0" err="1"/>
              <a:t>termen</a:t>
            </a:r>
            <a:r>
              <a:rPr lang="en-US" sz="1600" dirty="0"/>
              <a:t> </a:t>
            </a:r>
            <a:r>
              <a:rPr lang="en-US" sz="1600" dirty="0" err="1"/>
              <a:t>scurt</a:t>
            </a:r>
            <a:r>
              <a:rPr lang="en-US" sz="1600" dirty="0"/>
              <a:t> </a:t>
            </a:r>
            <a:r>
              <a:rPr lang="en-US" sz="1600" dirty="0" err="1"/>
              <a:t>și</a:t>
            </a:r>
            <a:r>
              <a:rPr lang="en-US" sz="1600" dirty="0"/>
              <a:t> </a:t>
            </a:r>
            <a:r>
              <a:rPr lang="en-US" sz="1600" dirty="0" err="1"/>
              <a:t>captarea</a:t>
            </a:r>
            <a:r>
              <a:rPr lang="en-US" sz="1600" dirty="0"/>
              <a:t> </a:t>
            </a:r>
            <a:r>
              <a:rPr lang="en-US" sz="1600" dirty="0" err="1"/>
              <a:t>creșterii</a:t>
            </a:r>
            <a:r>
              <a:rPr lang="en-US" sz="1600" dirty="0"/>
              <a:t> </a:t>
            </a:r>
            <a:r>
              <a:rPr lang="en-US" sz="1600" dirty="0" err="1"/>
              <a:t>consumului</a:t>
            </a:r>
            <a:r>
              <a:rPr lang="en-US" sz="1600" dirty="0"/>
              <a:t>, </a:t>
            </a:r>
            <a:r>
              <a:rPr lang="en-US" sz="1600" dirty="0" err="1"/>
              <a:t>dar</a:t>
            </a:r>
            <a:r>
              <a:rPr lang="en-US" sz="1600" dirty="0"/>
              <a:t> </a:t>
            </a:r>
            <a:r>
              <a:rPr lang="en-US" sz="1600" dirty="0" err="1"/>
              <a:t>fără</a:t>
            </a:r>
            <a:r>
              <a:rPr lang="en-US" sz="1600" dirty="0"/>
              <a:t> </a:t>
            </a:r>
            <a:r>
              <a:rPr lang="en-US" sz="1600" dirty="0" err="1"/>
              <a:t>să</a:t>
            </a:r>
            <a:r>
              <a:rPr lang="en-US" sz="1600" dirty="0"/>
              <a:t> </a:t>
            </a:r>
            <a:r>
              <a:rPr lang="en-US" sz="1600" dirty="0" err="1"/>
              <a:t>aibă</a:t>
            </a:r>
            <a:r>
              <a:rPr lang="en-US" sz="1600" dirty="0"/>
              <a:t> o </a:t>
            </a:r>
            <a:r>
              <a:rPr lang="en-US" sz="1600" dirty="0" err="1"/>
              <a:t>viziune</a:t>
            </a:r>
            <a:r>
              <a:rPr lang="en-US" sz="1600" dirty="0"/>
              <a:t> </a:t>
            </a:r>
            <a:r>
              <a:rPr lang="en-US" sz="1600" dirty="0" err="1"/>
              <a:t>strategică</a:t>
            </a:r>
            <a:r>
              <a:rPr lang="en-US" sz="1600" dirty="0"/>
              <a:t> </a:t>
            </a:r>
            <a:r>
              <a:rPr lang="en-US" sz="1600" dirty="0" err="1"/>
              <a:t>pe</a:t>
            </a:r>
            <a:r>
              <a:rPr lang="en-US" sz="1600" dirty="0"/>
              <a:t> </a:t>
            </a:r>
            <a:r>
              <a:rPr lang="en-US" sz="1600" dirty="0" err="1"/>
              <a:t>termen</a:t>
            </a:r>
            <a:r>
              <a:rPr lang="en-US" sz="1600" dirty="0"/>
              <a:t> lung; </a:t>
            </a:r>
            <a:endParaRPr lang="en-US" sz="1600" dirty="0" smtClean="0"/>
          </a:p>
          <a:p>
            <a:pPr marL="228600" lvl="0" indent="-228600" algn="just">
              <a:buFont typeface="+mj-lt"/>
              <a:buAutoNum type="arabicPeriod"/>
            </a:pPr>
            <a:endParaRPr lang="ro-RO" sz="300" dirty="0"/>
          </a:p>
          <a:p>
            <a:pPr marL="342900" lvl="0" indent="-342900" algn="just">
              <a:buFont typeface="+mj-lt"/>
              <a:buAutoNum type="arabicPeriod"/>
            </a:pPr>
            <a:r>
              <a:rPr lang="en-US" sz="1600" dirty="0" err="1"/>
              <a:t>companiile</a:t>
            </a:r>
            <a:r>
              <a:rPr lang="en-US" sz="1600" dirty="0"/>
              <a:t> </a:t>
            </a:r>
            <a:r>
              <a:rPr lang="en-US" sz="1600" dirty="0" err="1"/>
              <a:t>sunt</a:t>
            </a:r>
            <a:r>
              <a:rPr lang="en-US" sz="1600" dirty="0"/>
              <a:t> </a:t>
            </a:r>
            <a:r>
              <a:rPr lang="en-US" sz="1600" dirty="0" err="1"/>
              <a:t>mai</a:t>
            </a:r>
            <a:r>
              <a:rPr lang="en-US" sz="1600" dirty="0"/>
              <a:t> </a:t>
            </a:r>
            <a:r>
              <a:rPr lang="en-US" sz="1600" dirty="0" err="1"/>
              <a:t>deschise</a:t>
            </a:r>
            <a:r>
              <a:rPr lang="en-US" sz="1600" dirty="0"/>
              <a:t> la </a:t>
            </a:r>
            <a:r>
              <a:rPr lang="en-US" sz="1600" dirty="0" err="1"/>
              <a:t>externalizarea</a:t>
            </a:r>
            <a:r>
              <a:rPr lang="en-US" sz="1600" dirty="0"/>
              <a:t> </a:t>
            </a:r>
            <a:r>
              <a:rPr lang="en-US" sz="1600" dirty="0" err="1"/>
              <a:t>serviciilor</a:t>
            </a:r>
            <a:r>
              <a:rPr lang="en-US" sz="1600" dirty="0"/>
              <a:t> </a:t>
            </a:r>
            <a:r>
              <a:rPr lang="en-US" sz="1600" dirty="0" err="1"/>
              <a:t>suport</a:t>
            </a:r>
            <a:r>
              <a:rPr lang="en-US" sz="1600" dirty="0"/>
              <a:t> </a:t>
            </a:r>
            <a:r>
              <a:rPr lang="en-US" sz="1600" dirty="0" err="1"/>
              <a:t>sau</a:t>
            </a:r>
            <a:r>
              <a:rPr lang="en-US" sz="1600" dirty="0"/>
              <a:t> care nu au </a:t>
            </a:r>
            <a:r>
              <a:rPr lang="en-US" sz="1600" dirty="0" err="1"/>
              <a:t>legătură</a:t>
            </a:r>
            <a:r>
              <a:rPr lang="en-US" sz="1600" dirty="0"/>
              <a:t> </a:t>
            </a:r>
            <a:r>
              <a:rPr lang="en-US" sz="1600" dirty="0" err="1"/>
              <a:t>directă</a:t>
            </a:r>
            <a:r>
              <a:rPr lang="en-US" sz="1600" dirty="0"/>
              <a:t> cu </a:t>
            </a:r>
            <a:r>
              <a:rPr lang="en-US" sz="1600" dirty="0" err="1"/>
              <a:t>activitatea</a:t>
            </a:r>
            <a:r>
              <a:rPr lang="en-US" sz="1600" dirty="0"/>
              <a:t> de </a:t>
            </a:r>
            <a:r>
              <a:rPr lang="en-US" sz="1600" dirty="0" err="1"/>
              <a:t>bază</a:t>
            </a:r>
            <a:r>
              <a:rPr lang="en-US" sz="1600" dirty="0"/>
              <a:t> (ex: call center)  </a:t>
            </a:r>
            <a:endParaRPr lang="en-US" sz="1600" dirty="0" smtClean="0"/>
          </a:p>
          <a:p>
            <a:pPr marL="228600" lvl="0" indent="-228600" algn="just">
              <a:buFont typeface="+mj-lt"/>
              <a:buAutoNum type="arabicPeriod"/>
            </a:pPr>
            <a:endParaRPr lang="ro-RO" sz="300" dirty="0"/>
          </a:p>
          <a:p>
            <a:pPr marL="342900" lvl="0" indent="-342900" algn="just">
              <a:buFont typeface="+mj-lt"/>
              <a:buAutoNum type="arabicPeriod"/>
            </a:pPr>
            <a:r>
              <a:rPr lang="en-US" sz="1600" dirty="0" err="1"/>
              <a:t>în</a:t>
            </a:r>
            <a:r>
              <a:rPr lang="en-US" sz="1600" dirty="0"/>
              <a:t> </a:t>
            </a:r>
            <a:r>
              <a:rPr lang="en-US" sz="1600" dirty="0" err="1"/>
              <a:t>contextul</a:t>
            </a:r>
            <a:r>
              <a:rPr lang="en-US" sz="1600" dirty="0"/>
              <a:t> </a:t>
            </a:r>
            <a:r>
              <a:rPr lang="en-US" sz="1600" dirty="0" err="1"/>
              <a:t>tensionării</a:t>
            </a:r>
            <a:r>
              <a:rPr lang="en-US" sz="1600" dirty="0"/>
              <a:t> </a:t>
            </a:r>
            <a:r>
              <a:rPr lang="en-US" sz="1600" dirty="0" err="1"/>
              <a:t>forței</a:t>
            </a:r>
            <a:r>
              <a:rPr lang="en-US" sz="1600" dirty="0"/>
              <a:t> de </a:t>
            </a:r>
            <a:r>
              <a:rPr lang="en-US" sz="1600" dirty="0" err="1"/>
              <a:t>muncă</a:t>
            </a:r>
            <a:r>
              <a:rPr lang="en-US" sz="1600" dirty="0"/>
              <a:t> </a:t>
            </a:r>
            <a:r>
              <a:rPr lang="en-US" sz="1600" dirty="0" err="1"/>
              <a:t>și</a:t>
            </a:r>
            <a:r>
              <a:rPr lang="en-US" sz="1600" dirty="0"/>
              <a:t> </a:t>
            </a:r>
            <a:r>
              <a:rPr lang="en-US" sz="1600" dirty="0" err="1"/>
              <a:t>majorării</a:t>
            </a:r>
            <a:r>
              <a:rPr lang="en-US" sz="1600" dirty="0"/>
              <a:t> </a:t>
            </a:r>
            <a:r>
              <a:rPr lang="en-US" sz="1600" dirty="0" err="1"/>
              <a:t>cheltuielilor</a:t>
            </a:r>
            <a:r>
              <a:rPr lang="en-US" sz="1600" dirty="0"/>
              <a:t> cu </a:t>
            </a:r>
            <a:r>
              <a:rPr lang="en-US" sz="1600" dirty="0" err="1"/>
              <a:t>salarii</a:t>
            </a:r>
            <a:r>
              <a:rPr lang="en-US" sz="1600" dirty="0"/>
              <a:t>, </a:t>
            </a:r>
            <a:r>
              <a:rPr lang="en-US" sz="1600" dirty="0" err="1"/>
              <a:t>companiile</a:t>
            </a:r>
            <a:r>
              <a:rPr lang="en-US" sz="1600" dirty="0"/>
              <a:t> </a:t>
            </a:r>
            <a:r>
              <a:rPr lang="en-US" sz="1600" dirty="0" err="1"/>
              <a:t>preferă</a:t>
            </a:r>
            <a:r>
              <a:rPr lang="en-US" sz="1600" dirty="0"/>
              <a:t> </a:t>
            </a:r>
            <a:r>
              <a:rPr lang="en-US" sz="1600" dirty="0" err="1"/>
              <a:t>forța</a:t>
            </a:r>
            <a:r>
              <a:rPr lang="en-US" sz="1600" dirty="0"/>
              <a:t> de </a:t>
            </a:r>
            <a:r>
              <a:rPr lang="en-US" sz="1600" dirty="0" err="1"/>
              <a:t>muncă</a:t>
            </a:r>
            <a:r>
              <a:rPr lang="en-US" sz="1600" dirty="0"/>
              <a:t> </a:t>
            </a:r>
            <a:r>
              <a:rPr lang="en-US" sz="1600" dirty="0" err="1"/>
              <a:t>flexibilă</a:t>
            </a:r>
            <a:r>
              <a:rPr lang="en-US" sz="1600" dirty="0"/>
              <a:t> </a:t>
            </a:r>
            <a:r>
              <a:rPr lang="en-US" sz="1600" dirty="0" err="1"/>
              <a:t>prin</a:t>
            </a:r>
            <a:r>
              <a:rPr lang="en-US" sz="1600" dirty="0"/>
              <a:t> </a:t>
            </a:r>
            <a:r>
              <a:rPr lang="en-US" sz="1600" dirty="0" err="1"/>
              <a:t>externalizare</a:t>
            </a:r>
            <a:r>
              <a:rPr lang="en-US" sz="1600" dirty="0"/>
              <a:t> (leasing de personal) </a:t>
            </a:r>
            <a:r>
              <a:rPr lang="en-US" sz="1600" dirty="0" err="1"/>
              <a:t>și</a:t>
            </a:r>
            <a:r>
              <a:rPr lang="en-US" sz="1600" dirty="0"/>
              <a:t> </a:t>
            </a:r>
            <a:r>
              <a:rPr lang="en-US" sz="1600" dirty="0" err="1"/>
              <a:t>contractare</a:t>
            </a:r>
            <a:r>
              <a:rPr lang="en-US" sz="1600" dirty="0"/>
              <a:t> </a:t>
            </a:r>
            <a:r>
              <a:rPr lang="en-US" sz="1600" dirty="0" err="1"/>
              <a:t>pe</a:t>
            </a:r>
            <a:r>
              <a:rPr lang="en-US" sz="1600" dirty="0"/>
              <a:t> </a:t>
            </a:r>
            <a:r>
              <a:rPr lang="en-US" sz="1600" dirty="0" err="1"/>
              <a:t>bază</a:t>
            </a:r>
            <a:r>
              <a:rPr lang="en-US" sz="1600" dirty="0"/>
              <a:t> de </a:t>
            </a:r>
            <a:r>
              <a:rPr lang="en-US" sz="1600" dirty="0" err="1"/>
              <a:t>proiect</a:t>
            </a:r>
            <a:r>
              <a:rPr lang="en-US" sz="1600" dirty="0"/>
              <a:t>.</a:t>
            </a:r>
            <a:endParaRPr lang="ro-RO" sz="1600" dirty="0"/>
          </a:p>
          <a:p>
            <a:pPr marL="342900" indent="-342900" algn="just">
              <a:buFont typeface="+mj-lt"/>
              <a:buAutoNum type="arabicPeriod"/>
            </a:pPr>
            <a:endParaRPr lang="ro-RO" sz="1600" dirty="0"/>
          </a:p>
        </p:txBody>
      </p:sp>
    </p:spTree>
    <p:extLst>
      <p:ext uri="{BB962C8B-B14F-4D97-AF65-F5344CB8AC3E}">
        <p14:creationId xmlns:p14="http://schemas.microsoft.com/office/powerpoint/2010/main" val="1940856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95287" y="232003"/>
            <a:ext cx="8353426" cy="323165"/>
          </a:xfrm>
        </p:spPr>
        <p:txBody>
          <a:bodyPr/>
          <a:lstStyle/>
          <a:p>
            <a:r>
              <a:rPr lang="en-US" sz="2000" dirty="0" smtClean="0"/>
              <a:t>Cine face </a:t>
            </a:r>
            <a:r>
              <a:rPr lang="en-US" sz="2000" dirty="0" err="1" smtClean="0"/>
              <a:t>bani</a:t>
            </a:r>
            <a:r>
              <a:rPr lang="en-US" sz="2000" dirty="0" smtClean="0"/>
              <a:t>? Cine </a:t>
            </a:r>
            <a:r>
              <a:rPr lang="en-US" sz="2000" dirty="0" err="1" smtClean="0"/>
              <a:t>pierder</a:t>
            </a:r>
            <a:r>
              <a:rPr lang="en-US" sz="2000" dirty="0" smtClean="0"/>
              <a:t> </a:t>
            </a:r>
            <a:r>
              <a:rPr lang="en-US" sz="2000" dirty="0" err="1" smtClean="0"/>
              <a:t>bani</a:t>
            </a:r>
            <a:r>
              <a:rPr lang="en-US" sz="2000" dirty="0" smtClean="0"/>
              <a:t>? – </a:t>
            </a:r>
            <a:r>
              <a:rPr lang="en-US" sz="2000" dirty="0" err="1" smtClean="0"/>
              <a:t>anul</a:t>
            </a:r>
            <a:r>
              <a:rPr lang="en-US" sz="2000" dirty="0" smtClean="0"/>
              <a:t> 2017 </a:t>
            </a:r>
            <a:endParaRPr lang="ro-RO" sz="2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25000" lnSpcReduction="20000"/>
          </a:bodyPr>
          <a:lstStyle/>
          <a:p>
            <a:endParaRPr lang="ro-RO"/>
          </a:p>
        </p:txBody>
      </p:sp>
      <p:sp>
        <p:nvSpPr>
          <p:cNvPr id="15" name="Rectangle 1"/>
          <p:cNvSpPr>
            <a:spLocks noChangeArrowheads="1"/>
          </p:cNvSpPr>
          <p:nvPr/>
        </p:nvSpPr>
        <p:spPr bwMode="auto">
          <a:xfrm>
            <a:off x="1462015" y="685800"/>
            <a:ext cx="640835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400" b="1" dirty="0" smtClean="0">
                <a:solidFill>
                  <a:schemeClr val="accent5"/>
                </a:solidFill>
              </a:rPr>
              <a:t>TOP 10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sectoare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(CAEN 4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cfire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) cu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cele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mai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mari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profituri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(+) / </a:t>
            </a:r>
            <a:r>
              <a:rPr lang="en-US" altLang="ro-RO" sz="1400" b="1" dirty="0" err="1" smtClean="0">
                <a:solidFill>
                  <a:schemeClr val="accent5"/>
                </a:solidFill>
              </a:rPr>
              <a:t>pierderi</a:t>
            </a:r>
            <a:r>
              <a:rPr lang="en-US" altLang="ro-RO" sz="1400" b="1" dirty="0" smtClean="0">
                <a:solidFill>
                  <a:schemeClr val="accent5"/>
                </a:solidFill>
              </a:rPr>
              <a:t> (-)</a:t>
            </a:r>
            <a:endParaRPr lang="ro-RO" altLang="ro-RO" sz="1400" dirty="0">
              <a:solidFill>
                <a:schemeClr val="accent5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990600"/>
            <a:ext cx="4177088" cy="5166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8192025"/>
              </p:ext>
            </p:extLst>
          </p:nvPr>
        </p:nvGraphicFramePr>
        <p:xfrm>
          <a:off x="267040" y="1034987"/>
          <a:ext cx="4533560" cy="53123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360"/>
                <a:gridCol w="457200"/>
                <a:gridCol w="3810000"/>
              </a:tblGrid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</a:t>
                      </a:r>
                      <a:endParaRPr lang="ro-RO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EN</a:t>
                      </a:r>
                      <a:endParaRPr lang="ro-RO" sz="1000" b="1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ctorul de activitate</a:t>
                      </a:r>
                      <a:endParaRPr lang="ro-RO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11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ati ale bazelor sportive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10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zvoltare (promovare) imobiliara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13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ati de editare a ziarelor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13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ati ale centrelor de fitness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02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afura si alte activitati de infrumusetare</a:t>
                      </a:r>
                      <a:endParaRPr lang="it-IT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41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bricarea uleiurilor si grasimilor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11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crari de constructii a drumurilor si autostrazilor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21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bricarea de furnire si a panourilor de lemn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21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ltivarea strugurilor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49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sterea altor animale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20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ati de contabilitate si audit financiar, consultanta in domeniul fiscal</a:t>
                      </a:r>
                      <a:endParaRPr lang="it-IT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21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ati de asistenta medicala generala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11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ati de arhitectura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03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ati de creatie artistica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01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ati suport pentru interpretare artistica (spectacole)</a:t>
                      </a:r>
                      <a:endParaRPr lang="it-IT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435516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91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ati ale agentiilor de colectare si a birourilor (oficiilor) de raportare a creditului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12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ati de intermediere a tranzactiilor financiare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22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ati de consultanta pentru afaceri si management</a:t>
                      </a:r>
                      <a:endParaRPr lang="it-IT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22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ati ale agentilor si broker-ilor de asigurari</a:t>
                      </a:r>
                      <a:endParaRPr lang="ro-RO" sz="9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  <a:tr h="232275"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20</a:t>
                      </a:r>
                      <a:endParaRPr lang="ro-RO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9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ati de difuzare a programelor de televiziune</a:t>
                      </a:r>
                      <a:endParaRPr lang="pt-BR" sz="9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/>
                </a:tc>
              </a:tr>
            </a:tbl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15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464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16</a:t>
            </a:fld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95287" y="232003"/>
            <a:ext cx="8353426" cy="323165"/>
          </a:xfrm>
        </p:spPr>
        <p:txBody>
          <a:bodyPr/>
          <a:lstStyle/>
          <a:p>
            <a:pPr algn="ctr"/>
            <a:r>
              <a:rPr lang="en-US" sz="2000" dirty="0" smtClean="0"/>
              <a:t>Cine face </a:t>
            </a:r>
            <a:r>
              <a:rPr lang="en-US" sz="2000" dirty="0" err="1" smtClean="0"/>
              <a:t>bani</a:t>
            </a:r>
            <a:r>
              <a:rPr lang="en-US" sz="2000" dirty="0" smtClean="0"/>
              <a:t>? Cine </a:t>
            </a:r>
            <a:r>
              <a:rPr lang="en-US" sz="2000" dirty="0" err="1" smtClean="0"/>
              <a:t>pierder</a:t>
            </a:r>
            <a:r>
              <a:rPr lang="en-US" sz="2000" dirty="0" smtClean="0"/>
              <a:t> </a:t>
            </a:r>
            <a:r>
              <a:rPr lang="en-US" sz="2000" dirty="0" err="1" smtClean="0"/>
              <a:t>bani</a:t>
            </a:r>
            <a:r>
              <a:rPr lang="en-US" sz="2000" dirty="0" smtClean="0"/>
              <a:t>? – </a:t>
            </a:r>
            <a:r>
              <a:rPr lang="en-US" sz="2000" dirty="0" err="1" smtClean="0"/>
              <a:t>anul</a:t>
            </a:r>
            <a:r>
              <a:rPr lang="en-US" sz="2000" dirty="0" smtClean="0"/>
              <a:t> 2017 vs 2008 </a:t>
            </a:r>
            <a:endParaRPr lang="ro-RO" sz="2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25000" lnSpcReduction="20000"/>
          </a:bodyPr>
          <a:lstStyle/>
          <a:p>
            <a:endParaRPr lang="ro-RO"/>
          </a:p>
        </p:txBody>
      </p:sp>
      <p:sp>
        <p:nvSpPr>
          <p:cNvPr id="15" name="Rectangle 1"/>
          <p:cNvSpPr>
            <a:spLocks noChangeArrowheads="1"/>
          </p:cNvSpPr>
          <p:nvPr/>
        </p:nvSpPr>
        <p:spPr bwMode="auto">
          <a:xfrm>
            <a:off x="1908331" y="708705"/>
            <a:ext cx="516738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400" b="1" dirty="0" smtClean="0">
                <a:solidFill>
                  <a:srgbClr val="FF0000"/>
                </a:solidFill>
              </a:rPr>
              <a:t>TOP 10 </a:t>
            </a:r>
            <a:r>
              <a:rPr lang="en-US" altLang="ro-RO" sz="1400" b="1" dirty="0" err="1" smtClean="0">
                <a:solidFill>
                  <a:srgbClr val="FF0000"/>
                </a:solidFill>
              </a:rPr>
              <a:t>industrii</a:t>
            </a:r>
            <a:r>
              <a:rPr lang="en-US" altLang="ro-RO" sz="1400" b="1" dirty="0" smtClean="0">
                <a:solidFill>
                  <a:srgbClr val="FF0000"/>
                </a:solidFill>
              </a:rPr>
              <a:t> cu </a:t>
            </a:r>
            <a:r>
              <a:rPr lang="en-US" altLang="ro-RO" sz="1400" b="1" dirty="0" err="1" smtClean="0">
                <a:solidFill>
                  <a:srgbClr val="FF0000"/>
                </a:solidFill>
              </a:rPr>
              <a:t>cele</a:t>
            </a:r>
            <a:r>
              <a:rPr lang="en-US" altLang="ro-RO" sz="1400" b="1" dirty="0" smtClean="0">
                <a:solidFill>
                  <a:srgbClr val="FF0000"/>
                </a:solidFill>
              </a:rPr>
              <a:t> </a:t>
            </a:r>
            <a:r>
              <a:rPr lang="en-US" altLang="ro-RO" sz="1400" b="1" dirty="0" err="1" smtClean="0">
                <a:solidFill>
                  <a:srgbClr val="FF0000"/>
                </a:solidFill>
              </a:rPr>
              <a:t>mai</a:t>
            </a:r>
            <a:r>
              <a:rPr lang="en-US" altLang="ro-RO" sz="1400" b="1" dirty="0" smtClean="0">
                <a:solidFill>
                  <a:srgbClr val="FF0000"/>
                </a:solidFill>
              </a:rPr>
              <a:t> </a:t>
            </a:r>
            <a:r>
              <a:rPr lang="en-US" altLang="ro-RO" sz="1400" b="1" dirty="0" err="1" smtClean="0">
                <a:solidFill>
                  <a:srgbClr val="FF0000"/>
                </a:solidFill>
              </a:rPr>
              <a:t>mari</a:t>
            </a:r>
            <a:r>
              <a:rPr lang="en-US" altLang="ro-RO" sz="1400" b="1" dirty="0" smtClean="0">
                <a:solidFill>
                  <a:srgbClr val="FF0000"/>
                </a:solidFill>
              </a:rPr>
              <a:t> </a:t>
            </a:r>
            <a:r>
              <a:rPr lang="en-US" altLang="ro-RO" sz="1400" b="1" dirty="0" err="1" smtClean="0">
                <a:solidFill>
                  <a:srgbClr val="FF0000"/>
                </a:solidFill>
              </a:rPr>
              <a:t>profituri</a:t>
            </a:r>
            <a:r>
              <a:rPr lang="en-US" altLang="ro-RO" sz="1400" b="1" dirty="0" smtClean="0">
                <a:solidFill>
                  <a:srgbClr val="FF0000"/>
                </a:solidFill>
              </a:rPr>
              <a:t> (+) / </a:t>
            </a:r>
            <a:r>
              <a:rPr lang="en-US" altLang="ro-RO" sz="1400" b="1" dirty="0" err="1" smtClean="0">
                <a:solidFill>
                  <a:srgbClr val="FF0000"/>
                </a:solidFill>
              </a:rPr>
              <a:t>pierderi</a:t>
            </a:r>
            <a:r>
              <a:rPr lang="en-US" altLang="ro-RO" sz="1400" b="1" dirty="0" smtClean="0">
                <a:solidFill>
                  <a:srgbClr val="FF0000"/>
                </a:solidFill>
              </a:rPr>
              <a:t> (-)</a:t>
            </a:r>
            <a:endParaRPr lang="ro-RO" altLang="ro-RO" sz="1400" dirty="0">
              <a:solidFill>
                <a:srgbClr val="FF0000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7686" y="1132113"/>
            <a:ext cx="4037920" cy="5225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6247232"/>
              </p:ext>
            </p:extLst>
          </p:nvPr>
        </p:nvGraphicFramePr>
        <p:xfrm>
          <a:off x="160905" y="1240850"/>
          <a:ext cx="4521200" cy="5029320"/>
        </p:xfrm>
        <a:graphic>
          <a:graphicData uri="http://schemas.openxmlformats.org/drawingml/2006/table">
            <a:tbl>
              <a:tblPr/>
              <a:tblGrid>
                <a:gridCol w="203200"/>
                <a:gridCol w="4318000"/>
              </a:tblGrid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N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Industri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dustria extractiv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bricarea produselor textile, a articolelor de imbracaminte si incaltamint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ductia si furnizarea de energie electrica si termica, apa si gaz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dustria de masini si echipament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dustria alimentara si a bauturilo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nsportur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dustria metalurgic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ert cu amanuntu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ert cu ridicata si distributi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bricarea lemnului si a produselor din lem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structi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osta si telecomunicati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sanarea si indepartarea gunoaielor; salubritate si activitati similar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abricarea substantelor si produselor chimic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oteluri si restaurant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lte activitati de servicii personal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gricultur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natate si asistenta social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nzactii imobiliar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ivitati recreative, culturale si sportiv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lte activitati de servicii prestate in principal intreprinderilor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555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o-R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termedieri financiar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2533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Espace réservé du texte 44"/>
          <p:cNvSpPr>
            <a:spLocks noGrp="1"/>
          </p:cNvSpPr>
          <p:nvPr>
            <p:ph type="body" sz="quarter" idx="10"/>
          </p:nvPr>
        </p:nvSpPr>
        <p:spPr>
          <a:xfrm>
            <a:off x="228600" y="3124200"/>
            <a:ext cx="3456260" cy="646331"/>
          </a:xfrm>
        </p:spPr>
        <p:txBody>
          <a:bodyPr/>
          <a:lstStyle/>
          <a:p>
            <a:r>
              <a:rPr lang="en-US" sz="3600" b="1" dirty="0" smtClean="0"/>
              <a:t>VA  MUL</a:t>
            </a:r>
            <a:r>
              <a:rPr lang="ro-RO" sz="3600" b="1" dirty="0" smtClean="0"/>
              <a:t>Ț</a:t>
            </a:r>
            <a:r>
              <a:rPr lang="en-US" sz="3600" b="1" dirty="0" smtClean="0"/>
              <a:t>UMESC!</a:t>
            </a:r>
            <a:endParaRPr lang="en-US" sz="3600" b="1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88" y="76200"/>
            <a:ext cx="2733675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40325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447800" y="304800"/>
            <a:ext cx="5929313" cy="378565"/>
          </a:xfrm>
        </p:spPr>
        <p:txBody>
          <a:bodyPr/>
          <a:lstStyle/>
          <a:p>
            <a:r>
              <a:rPr lang="en-US" dirty="0" err="1" smtClean="0"/>
              <a:t>Microintreprinderi</a:t>
            </a:r>
            <a:r>
              <a:rPr lang="en-US" dirty="0" smtClean="0"/>
              <a:t> </a:t>
            </a:r>
            <a:r>
              <a:rPr lang="en-US" dirty="0" smtClean="0">
                <a:solidFill>
                  <a:schemeClr val="accent5"/>
                </a:solidFill>
              </a:rPr>
              <a:t>vs</a:t>
            </a:r>
            <a:r>
              <a:rPr lang="en-US" dirty="0" smtClean="0"/>
              <a:t> </a:t>
            </a:r>
            <a:r>
              <a:rPr lang="en-US" dirty="0" err="1" smtClean="0"/>
              <a:t>companiile</a:t>
            </a:r>
            <a:r>
              <a:rPr lang="en-US" dirty="0" smtClean="0"/>
              <a:t> </a:t>
            </a:r>
            <a:r>
              <a:rPr lang="en-US" dirty="0" err="1" smtClean="0"/>
              <a:t>mari</a:t>
            </a:r>
            <a:r>
              <a:rPr lang="en-US" dirty="0" smtClean="0"/>
              <a:t> </a:t>
            </a:r>
            <a:endParaRPr lang="ro-R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25000" lnSpcReduction="20000"/>
          </a:bodyPr>
          <a:lstStyle/>
          <a:p>
            <a:endParaRPr lang="ro-RO"/>
          </a:p>
        </p:txBody>
      </p:sp>
      <p:cxnSp>
        <p:nvCxnSpPr>
          <p:cNvPr id="9" name="Straight Connector 8"/>
          <p:cNvCxnSpPr/>
          <p:nvPr/>
        </p:nvCxnSpPr>
        <p:spPr>
          <a:xfrm>
            <a:off x="4539343" y="1555063"/>
            <a:ext cx="0" cy="3811594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5052828"/>
              </p:ext>
            </p:extLst>
          </p:nvPr>
        </p:nvGraphicFramePr>
        <p:xfrm>
          <a:off x="123825" y="2100942"/>
          <a:ext cx="432435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5346641"/>
              </p:ext>
            </p:extLst>
          </p:nvPr>
        </p:nvGraphicFramePr>
        <p:xfrm>
          <a:off x="4684939" y="2177143"/>
          <a:ext cx="432435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935489" y="1385786"/>
            <a:ext cx="265679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600" b="1" dirty="0" err="1" smtClean="0">
                <a:solidFill>
                  <a:schemeClr val="accent5"/>
                </a:solidFill>
              </a:rPr>
              <a:t>Polarizarea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600" b="1" dirty="0" err="1" smtClean="0">
                <a:solidFill>
                  <a:schemeClr val="accent5"/>
                </a:solidFill>
              </a:rPr>
              <a:t>veniturilor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endParaRPr lang="ro-RO" altLang="ro-RO" sz="1600" dirty="0">
              <a:solidFill>
                <a:schemeClr val="accent5"/>
              </a:solidFill>
            </a:endParaRPr>
          </a:p>
        </p:txBody>
      </p: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5442175" y="1421743"/>
            <a:ext cx="265679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600" b="1" dirty="0" err="1" smtClean="0">
                <a:solidFill>
                  <a:schemeClr val="accent5"/>
                </a:solidFill>
              </a:rPr>
              <a:t>Eficienta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600" b="1" dirty="0" err="1" smtClean="0">
                <a:solidFill>
                  <a:schemeClr val="accent5"/>
                </a:solidFill>
              </a:rPr>
              <a:t>muncii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endParaRPr lang="ro-RO" altLang="ro-RO" sz="1600" dirty="0">
              <a:solidFill>
                <a:schemeClr val="accent5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2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644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447800" y="304800"/>
            <a:ext cx="5853113" cy="378565"/>
          </a:xfrm>
        </p:spPr>
        <p:txBody>
          <a:bodyPr/>
          <a:lstStyle/>
          <a:p>
            <a:r>
              <a:rPr lang="en-US" dirty="0" err="1" smtClean="0"/>
              <a:t>Microintreprinderi</a:t>
            </a:r>
            <a:r>
              <a:rPr lang="en-US" dirty="0" smtClean="0"/>
              <a:t> </a:t>
            </a:r>
            <a:r>
              <a:rPr lang="en-US" dirty="0" smtClean="0">
                <a:solidFill>
                  <a:schemeClr val="accent5"/>
                </a:solidFill>
              </a:rPr>
              <a:t>vs</a:t>
            </a:r>
            <a:r>
              <a:rPr lang="en-US" dirty="0" smtClean="0"/>
              <a:t> </a:t>
            </a:r>
            <a:r>
              <a:rPr lang="en-US" dirty="0" err="1" smtClean="0"/>
              <a:t>companiile</a:t>
            </a:r>
            <a:r>
              <a:rPr lang="en-US" dirty="0" smtClean="0"/>
              <a:t> </a:t>
            </a:r>
            <a:r>
              <a:rPr lang="en-US" dirty="0" err="1" smtClean="0"/>
              <a:t>mari</a:t>
            </a:r>
            <a:r>
              <a:rPr lang="en-US" dirty="0" smtClean="0"/>
              <a:t> </a:t>
            </a:r>
            <a:endParaRPr lang="ro-R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25000" lnSpcReduction="20000"/>
          </a:bodyPr>
          <a:lstStyle/>
          <a:p>
            <a:endParaRPr lang="ro-RO"/>
          </a:p>
        </p:txBody>
      </p:sp>
      <p:cxnSp>
        <p:nvCxnSpPr>
          <p:cNvPr id="9" name="Straight Connector 8"/>
          <p:cNvCxnSpPr/>
          <p:nvPr/>
        </p:nvCxnSpPr>
        <p:spPr>
          <a:xfrm>
            <a:off x="4539343" y="1555063"/>
            <a:ext cx="0" cy="3811594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903514" y="1385786"/>
            <a:ext cx="299357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600" b="1" dirty="0" err="1" smtClean="0">
                <a:solidFill>
                  <a:schemeClr val="accent5"/>
                </a:solidFill>
              </a:rPr>
              <a:t>Profitabilitatea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600" b="1" dirty="0" err="1" smtClean="0">
                <a:solidFill>
                  <a:schemeClr val="accent5"/>
                </a:solidFill>
              </a:rPr>
              <a:t>comerciala</a:t>
            </a:r>
            <a:endParaRPr lang="ro-RO" altLang="ro-RO" sz="1600" dirty="0">
              <a:solidFill>
                <a:schemeClr val="accent5"/>
              </a:solidFill>
            </a:endParaRPr>
          </a:p>
        </p:txBody>
      </p: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5442175" y="1421743"/>
            <a:ext cx="265679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600" b="1" dirty="0" err="1" smtClean="0">
                <a:solidFill>
                  <a:schemeClr val="accent5"/>
                </a:solidFill>
              </a:rPr>
              <a:t>Eficienta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600" b="1" dirty="0" err="1" smtClean="0">
                <a:solidFill>
                  <a:schemeClr val="accent5"/>
                </a:solidFill>
              </a:rPr>
              <a:t>muncii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endParaRPr lang="ro-RO" altLang="ro-RO" sz="1600" dirty="0">
              <a:solidFill>
                <a:schemeClr val="accent5"/>
              </a:solidFill>
            </a:endParaRPr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19202342"/>
              </p:ext>
            </p:extLst>
          </p:nvPr>
        </p:nvGraphicFramePr>
        <p:xfrm>
          <a:off x="214993" y="2253343"/>
          <a:ext cx="4182836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9050673"/>
              </p:ext>
            </p:extLst>
          </p:nvPr>
        </p:nvGraphicFramePr>
        <p:xfrm>
          <a:off x="4608396" y="2251982"/>
          <a:ext cx="4324350" cy="2809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3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25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433172" y="381000"/>
            <a:ext cx="5929313" cy="378565"/>
          </a:xfrm>
        </p:spPr>
        <p:txBody>
          <a:bodyPr/>
          <a:lstStyle/>
          <a:p>
            <a:r>
              <a:rPr lang="en-US" dirty="0" err="1" smtClean="0"/>
              <a:t>Microintreprinderi</a:t>
            </a:r>
            <a:r>
              <a:rPr lang="en-US" dirty="0" smtClean="0"/>
              <a:t> </a:t>
            </a:r>
            <a:r>
              <a:rPr lang="en-US" dirty="0" smtClean="0">
                <a:solidFill>
                  <a:schemeClr val="accent5"/>
                </a:solidFill>
              </a:rPr>
              <a:t>vs</a:t>
            </a:r>
            <a:r>
              <a:rPr lang="en-US" dirty="0" smtClean="0"/>
              <a:t> </a:t>
            </a:r>
            <a:r>
              <a:rPr lang="en-US" dirty="0" err="1" smtClean="0"/>
              <a:t>companiile</a:t>
            </a:r>
            <a:r>
              <a:rPr lang="en-US" dirty="0" smtClean="0"/>
              <a:t> </a:t>
            </a:r>
            <a:r>
              <a:rPr lang="en-US" dirty="0" err="1" smtClean="0"/>
              <a:t>mari</a:t>
            </a:r>
            <a:r>
              <a:rPr lang="en-US" dirty="0" smtClean="0"/>
              <a:t> </a:t>
            </a:r>
            <a:endParaRPr lang="ro-R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25000" lnSpcReduction="20000"/>
          </a:bodyPr>
          <a:lstStyle/>
          <a:p>
            <a:endParaRPr lang="ro-RO"/>
          </a:p>
        </p:txBody>
      </p:sp>
      <p:cxnSp>
        <p:nvCxnSpPr>
          <p:cNvPr id="9" name="Straight Connector 8"/>
          <p:cNvCxnSpPr/>
          <p:nvPr/>
        </p:nvCxnSpPr>
        <p:spPr>
          <a:xfrm>
            <a:off x="4539343" y="1555063"/>
            <a:ext cx="0" cy="3811594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435429" y="1385786"/>
            <a:ext cx="39624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600" b="1" dirty="0" err="1" smtClean="0">
                <a:solidFill>
                  <a:schemeClr val="accent5"/>
                </a:solidFill>
              </a:rPr>
              <a:t>Capitalizarea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600" b="1" dirty="0" err="1" smtClean="0">
                <a:solidFill>
                  <a:schemeClr val="accent5"/>
                </a:solidFill>
              </a:rPr>
              <a:t>si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600" b="1" dirty="0" err="1" smtClean="0">
                <a:solidFill>
                  <a:schemeClr val="accent5"/>
                </a:solidFill>
              </a:rPr>
              <a:t>politica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600" b="1" dirty="0" err="1" smtClean="0">
                <a:solidFill>
                  <a:schemeClr val="accent5"/>
                </a:solidFill>
              </a:rPr>
              <a:t>dividendelor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endParaRPr lang="ro-RO" altLang="ro-RO" sz="1600" dirty="0">
              <a:solidFill>
                <a:schemeClr val="accent5"/>
              </a:solidFill>
            </a:endParaRPr>
          </a:p>
        </p:txBody>
      </p: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5442175" y="1421743"/>
            <a:ext cx="265679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600" b="1" dirty="0" err="1" smtClean="0">
                <a:solidFill>
                  <a:schemeClr val="accent5"/>
                </a:solidFill>
              </a:rPr>
              <a:t>Gradul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de </a:t>
            </a:r>
            <a:r>
              <a:rPr lang="en-US" altLang="ro-RO" sz="1600" b="1" dirty="0" err="1" smtClean="0">
                <a:solidFill>
                  <a:schemeClr val="accent5"/>
                </a:solidFill>
              </a:rPr>
              <a:t>indatorare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endParaRPr lang="ro-RO" altLang="ro-RO" sz="1600" dirty="0">
              <a:solidFill>
                <a:schemeClr val="accent5"/>
              </a:solidFill>
            </a:endParaRP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1163887"/>
              </p:ext>
            </p:extLst>
          </p:nvPr>
        </p:nvGraphicFramePr>
        <p:xfrm>
          <a:off x="117022" y="2231572"/>
          <a:ext cx="432435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3852384"/>
              </p:ext>
            </p:extLst>
          </p:nvPr>
        </p:nvGraphicFramePr>
        <p:xfrm>
          <a:off x="4706368" y="2249940"/>
          <a:ext cx="4324350" cy="27717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4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97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447800" y="381000"/>
            <a:ext cx="5853113" cy="378565"/>
          </a:xfrm>
        </p:spPr>
        <p:txBody>
          <a:bodyPr/>
          <a:lstStyle/>
          <a:p>
            <a:r>
              <a:rPr lang="en-US" dirty="0" err="1" smtClean="0"/>
              <a:t>Microintreprinderi</a:t>
            </a:r>
            <a:r>
              <a:rPr lang="en-US" dirty="0" smtClean="0"/>
              <a:t> </a:t>
            </a:r>
            <a:r>
              <a:rPr lang="en-US" dirty="0" smtClean="0">
                <a:solidFill>
                  <a:schemeClr val="accent5"/>
                </a:solidFill>
              </a:rPr>
              <a:t>vs</a:t>
            </a:r>
            <a:r>
              <a:rPr lang="en-US" dirty="0" smtClean="0"/>
              <a:t> </a:t>
            </a:r>
            <a:r>
              <a:rPr lang="en-US" dirty="0" err="1" smtClean="0"/>
              <a:t>companiile</a:t>
            </a:r>
            <a:r>
              <a:rPr lang="en-US" dirty="0" smtClean="0"/>
              <a:t> </a:t>
            </a:r>
            <a:r>
              <a:rPr lang="en-US" dirty="0" err="1" smtClean="0"/>
              <a:t>mari</a:t>
            </a:r>
            <a:r>
              <a:rPr lang="en-US" dirty="0" smtClean="0"/>
              <a:t> </a:t>
            </a:r>
            <a:endParaRPr lang="ro-R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25000" lnSpcReduction="20000"/>
          </a:bodyPr>
          <a:lstStyle/>
          <a:p>
            <a:endParaRPr lang="ro-RO"/>
          </a:p>
        </p:txBody>
      </p:sp>
      <p:cxnSp>
        <p:nvCxnSpPr>
          <p:cNvPr id="9" name="Straight Connector 8"/>
          <p:cNvCxnSpPr/>
          <p:nvPr/>
        </p:nvCxnSpPr>
        <p:spPr>
          <a:xfrm>
            <a:off x="4539343" y="1555063"/>
            <a:ext cx="0" cy="3811594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653144" y="1385786"/>
            <a:ext cx="323305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600" b="1" smtClean="0">
                <a:solidFill>
                  <a:schemeClr val="accent5"/>
                </a:solidFill>
              </a:rPr>
              <a:t>Investitiile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600" b="1" dirty="0" err="1" smtClean="0">
                <a:solidFill>
                  <a:schemeClr val="accent5"/>
                </a:solidFill>
              </a:rPr>
              <a:t>pe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600" b="1" dirty="0" err="1" smtClean="0">
                <a:solidFill>
                  <a:schemeClr val="accent5"/>
                </a:solidFill>
              </a:rPr>
              <a:t>termen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lung </a:t>
            </a:r>
            <a:endParaRPr lang="ro-RO" altLang="ro-RO" sz="1600" dirty="0">
              <a:solidFill>
                <a:schemeClr val="accent5"/>
              </a:solidFill>
            </a:endParaRPr>
          </a:p>
        </p:txBody>
      </p: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5246913" y="1421743"/>
            <a:ext cx="303711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600" b="1" dirty="0" err="1" smtClean="0">
                <a:solidFill>
                  <a:schemeClr val="accent5"/>
                </a:solidFill>
              </a:rPr>
              <a:t>Randamentul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600" b="1" dirty="0" err="1" smtClean="0">
                <a:solidFill>
                  <a:schemeClr val="accent5"/>
                </a:solidFill>
              </a:rPr>
              <a:t>investitiilor</a:t>
            </a:r>
            <a:endParaRPr lang="ro-RO" altLang="ro-RO" sz="1600" dirty="0">
              <a:solidFill>
                <a:schemeClr val="accent5"/>
              </a:solidFill>
            </a:endParaRPr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4771302"/>
              </p:ext>
            </p:extLst>
          </p:nvPr>
        </p:nvGraphicFramePr>
        <p:xfrm>
          <a:off x="73479" y="2253343"/>
          <a:ext cx="432435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34152781"/>
              </p:ext>
            </p:extLst>
          </p:nvPr>
        </p:nvGraphicFramePr>
        <p:xfrm>
          <a:off x="4608396" y="2264228"/>
          <a:ext cx="432435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5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611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405957" y="457200"/>
            <a:ext cx="5700713" cy="378565"/>
          </a:xfrm>
        </p:spPr>
        <p:txBody>
          <a:bodyPr/>
          <a:lstStyle/>
          <a:p>
            <a:r>
              <a:rPr lang="en-US" dirty="0" err="1" smtClean="0"/>
              <a:t>Microintreprinderi</a:t>
            </a:r>
            <a:r>
              <a:rPr lang="en-US" dirty="0" smtClean="0"/>
              <a:t> </a:t>
            </a:r>
            <a:r>
              <a:rPr lang="en-US" dirty="0" smtClean="0">
                <a:solidFill>
                  <a:schemeClr val="accent5"/>
                </a:solidFill>
              </a:rPr>
              <a:t>vs</a:t>
            </a:r>
            <a:r>
              <a:rPr lang="en-US" dirty="0" smtClean="0"/>
              <a:t> </a:t>
            </a:r>
            <a:r>
              <a:rPr lang="en-US" dirty="0" err="1" smtClean="0"/>
              <a:t>companiile</a:t>
            </a:r>
            <a:r>
              <a:rPr lang="en-US" dirty="0" smtClean="0"/>
              <a:t> </a:t>
            </a:r>
            <a:r>
              <a:rPr lang="en-US" dirty="0" err="1" smtClean="0"/>
              <a:t>mari</a:t>
            </a:r>
            <a:r>
              <a:rPr lang="en-US" dirty="0" smtClean="0"/>
              <a:t> </a:t>
            </a:r>
            <a:endParaRPr lang="ro-R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25000" lnSpcReduction="20000"/>
          </a:bodyPr>
          <a:lstStyle/>
          <a:p>
            <a:endParaRPr lang="ro-RO"/>
          </a:p>
        </p:txBody>
      </p:sp>
      <p:cxnSp>
        <p:nvCxnSpPr>
          <p:cNvPr id="9" name="Straight Connector 8"/>
          <p:cNvCxnSpPr/>
          <p:nvPr/>
        </p:nvCxnSpPr>
        <p:spPr>
          <a:xfrm>
            <a:off x="4539343" y="1555063"/>
            <a:ext cx="0" cy="3811594"/>
          </a:xfrm>
          <a:prstGeom prst="line">
            <a:avLst/>
          </a:prstGeom>
          <a:ln w="9525" cap="rnd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"/>
          <p:cNvSpPr>
            <a:spLocks noChangeArrowheads="1"/>
          </p:cNvSpPr>
          <p:nvPr/>
        </p:nvSpPr>
        <p:spPr bwMode="auto">
          <a:xfrm>
            <a:off x="489857" y="1385786"/>
            <a:ext cx="376645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600" b="1" dirty="0" err="1" smtClean="0">
                <a:solidFill>
                  <a:schemeClr val="accent5"/>
                </a:solidFill>
              </a:rPr>
              <a:t>Managementul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600" b="1" dirty="0" err="1" smtClean="0">
                <a:solidFill>
                  <a:schemeClr val="accent5"/>
                </a:solidFill>
              </a:rPr>
              <a:t>riscului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de credit</a:t>
            </a:r>
            <a:endParaRPr lang="ro-RO" altLang="ro-RO" sz="1600" dirty="0">
              <a:solidFill>
                <a:schemeClr val="accent5"/>
              </a:solidFill>
            </a:endParaRPr>
          </a:p>
        </p:txBody>
      </p: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5431970" y="1421743"/>
            <a:ext cx="261257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600" b="1" dirty="0" err="1" smtClean="0">
                <a:solidFill>
                  <a:schemeClr val="accent5"/>
                </a:solidFill>
              </a:rPr>
              <a:t>Logistica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r>
              <a:rPr lang="en-US" altLang="ro-RO" sz="1600" b="1" dirty="0" err="1" smtClean="0">
                <a:solidFill>
                  <a:schemeClr val="accent5"/>
                </a:solidFill>
              </a:rPr>
              <a:t>stocurilor</a:t>
            </a:r>
            <a:r>
              <a:rPr lang="en-US" altLang="ro-RO" sz="1600" b="1" dirty="0" smtClean="0">
                <a:solidFill>
                  <a:schemeClr val="accent5"/>
                </a:solidFill>
              </a:rPr>
              <a:t> </a:t>
            </a:r>
            <a:endParaRPr lang="ro-RO" altLang="ro-RO" sz="1600" dirty="0">
              <a:solidFill>
                <a:schemeClr val="accent5"/>
              </a:solidFill>
            </a:endParaRP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8407884"/>
              </p:ext>
            </p:extLst>
          </p:nvPr>
        </p:nvGraphicFramePr>
        <p:xfrm>
          <a:off x="107497" y="2283277"/>
          <a:ext cx="4324350" cy="28765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8121342"/>
              </p:ext>
            </p:extLst>
          </p:nvPr>
        </p:nvGraphicFramePr>
        <p:xfrm>
          <a:off x="4603295" y="2318657"/>
          <a:ext cx="432435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>
                <a:solidFill>
                  <a:srgbClr val="61B57C"/>
                </a:solidFill>
              </a:rPr>
              <a:t>Top 500 CEE - 6.09.2018</a:t>
            </a:r>
            <a:endParaRPr lang="fr-FR" dirty="0">
              <a:solidFill>
                <a:srgbClr val="61B57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A3F48B-818E-4440-B2BA-2245DD423899}" type="slidenum">
              <a:rPr lang="fr-FR" smtClean="0">
                <a:solidFill>
                  <a:prstClr val="white"/>
                </a:solidFill>
              </a:rPr>
              <a:pPr/>
              <a:t>6</a:t>
            </a:fld>
            <a:endParaRPr lang="fr-FR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529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itre 6"/>
          <p:cNvSpPr txBox="1">
            <a:spLocks/>
          </p:cNvSpPr>
          <p:nvPr/>
        </p:nvSpPr>
        <p:spPr bwMode="auto">
          <a:xfrm>
            <a:off x="34925" y="44450"/>
            <a:ext cx="9001125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Font typeface="Wingdings" pitchFamily="2" charset="2"/>
              <a:buNone/>
            </a:pPr>
            <a:r>
              <a:rPr lang="en-US" altLang="ro-RO" sz="2000" b="1" dirty="0" err="1" smtClean="0">
                <a:solidFill>
                  <a:schemeClr val="tx2"/>
                </a:solidFill>
              </a:rPr>
              <a:t>Evolutia</a:t>
            </a:r>
            <a:r>
              <a:rPr lang="en-US" altLang="ro-RO" sz="2000" b="1" dirty="0" smtClean="0">
                <a:solidFill>
                  <a:schemeClr val="tx2"/>
                </a:solidFill>
              </a:rPr>
              <a:t> </a:t>
            </a:r>
            <a:r>
              <a:rPr lang="en-US" altLang="ro-RO" sz="2000" b="1" dirty="0" err="1" smtClean="0">
                <a:solidFill>
                  <a:schemeClr val="tx2"/>
                </a:solidFill>
              </a:rPr>
              <a:t>insolventelor</a:t>
            </a:r>
            <a:endParaRPr lang="en-US" altLang="ro-RO" sz="2000" b="1" dirty="0">
              <a:solidFill>
                <a:schemeClr val="tx2"/>
              </a:solidFill>
            </a:endParaRPr>
          </a:p>
        </p:txBody>
      </p:sp>
      <p:sp>
        <p:nvSpPr>
          <p:cNvPr id="48131" name="Rectangle 2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-107950" y="476250"/>
            <a:ext cx="4594225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38125" indent="-238125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447675" indent="-2095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446088" indent="27305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446088" indent="925513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446088" indent="1382713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903288" indent="1382713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1360488" indent="1382713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1817688" indent="1382713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2274888" indent="1382713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38125" lvl="1" indent="0" algn="just" eaLnBrk="1" hangingPunct="1">
              <a:spcAft>
                <a:spcPct val="0"/>
              </a:spcAft>
              <a:buNone/>
            </a:pPr>
            <a:endParaRPr lang="en-US" altLang="ro-RO" dirty="0">
              <a:solidFill>
                <a:srgbClr val="FF0000"/>
              </a:solidFill>
            </a:endParaRPr>
          </a:p>
          <a:p>
            <a:pPr lvl="2" algn="just" eaLnBrk="1" hangingPunct="1">
              <a:spcAft>
                <a:spcPct val="0"/>
              </a:spcAft>
            </a:pPr>
            <a:r>
              <a:rPr lang="en-US" altLang="ro-RO" dirty="0" err="1" smtClean="0"/>
              <a:t>Semestrul</a:t>
            </a:r>
            <a:r>
              <a:rPr lang="en-US" altLang="ro-RO" dirty="0" smtClean="0"/>
              <a:t> 1 – 2018 </a:t>
            </a:r>
            <a:r>
              <a:rPr lang="en-US" altLang="ro-RO" dirty="0" err="1" smtClean="0"/>
              <a:t>indica</a:t>
            </a:r>
            <a:r>
              <a:rPr lang="en-US" altLang="ro-RO" dirty="0" smtClean="0"/>
              <a:t> </a:t>
            </a:r>
            <a:r>
              <a:rPr lang="en-US" altLang="ro-RO" dirty="0" err="1" smtClean="0"/>
              <a:t>numarul</a:t>
            </a:r>
            <a:r>
              <a:rPr lang="en-US" altLang="ro-RO" dirty="0" smtClean="0"/>
              <a:t> minim al </a:t>
            </a:r>
            <a:r>
              <a:rPr lang="en-US" altLang="ro-RO" dirty="0" err="1" smtClean="0"/>
              <a:t>insolventelor</a:t>
            </a:r>
            <a:r>
              <a:rPr lang="en-US" altLang="ro-RO" dirty="0" smtClean="0"/>
              <a:t> in </a:t>
            </a:r>
            <a:r>
              <a:rPr lang="en-US" altLang="ro-RO" dirty="0" err="1" smtClean="0"/>
              <a:t>ultimii</a:t>
            </a:r>
            <a:r>
              <a:rPr lang="en-US" altLang="ro-RO" dirty="0" smtClean="0"/>
              <a:t> 10 </a:t>
            </a:r>
            <a:r>
              <a:rPr lang="en-US" altLang="ro-RO" dirty="0" err="1" smtClean="0"/>
              <a:t>ani</a:t>
            </a:r>
            <a:r>
              <a:rPr lang="en-US" altLang="ro-RO" dirty="0" smtClean="0"/>
              <a:t>, </a:t>
            </a:r>
            <a:r>
              <a:rPr lang="en-US" altLang="ro-RO" dirty="0" err="1" smtClean="0"/>
              <a:t>respectiv</a:t>
            </a:r>
            <a:r>
              <a:rPr lang="en-US" altLang="ro-RO" dirty="0" smtClean="0"/>
              <a:t> 4.199 </a:t>
            </a:r>
            <a:r>
              <a:rPr lang="en-US" altLang="ro-RO" dirty="0" err="1" smtClean="0"/>
              <a:t>companii</a:t>
            </a:r>
            <a:r>
              <a:rPr lang="en-US" altLang="ro-RO" dirty="0" smtClean="0"/>
              <a:t> </a:t>
            </a:r>
            <a:r>
              <a:rPr lang="en-US" altLang="ro-RO" dirty="0" err="1" smtClean="0"/>
              <a:t>insolvente</a:t>
            </a:r>
            <a:r>
              <a:rPr lang="en-US" altLang="ro-RO" dirty="0" smtClean="0"/>
              <a:t> (-5% </a:t>
            </a:r>
            <a:r>
              <a:rPr lang="en-US" altLang="ro-RO" dirty="0" err="1" smtClean="0"/>
              <a:t>comparativ</a:t>
            </a:r>
            <a:r>
              <a:rPr lang="en-US" altLang="ro-RO" dirty="0" smtClean="0"/>
              <a:t> cu </a:t>
            </a:r>
            <a:r>
              <a:rPr lang="en-US" altLang="ro-RO" dirty="0" err="1" smtClean="0"/>
              <a:t>primul</a:t>
            </a:r>
            <a:r>
              <a:rPr lang="en-US" altLang="ro-RO" dirty="0" smtClean="0"/>
              <a:t> </a:t>
            </a:r>
            <a:r>
              <a:rPr lang="en-US" altLang="ro-RO" dirty="0" err="1" smtClean="0"/>
              <a:t>semestru</a:t>
            </a:r>
            <a:r>
              <a:rPr lang="en-US" altLang="ro-RO" dirty="0" smtClean="0"/>
              <a:t> 2017)</a:t>
            </a:r>
          </a:p>
          <a:p>
            <a:pPr lvl="2" algn="just" eaLnBrk="1" hangingPunct="1">
              <a:spcAft>
                <a:spcPct val="0"/>
              </a:spcAft>
            </a:pPr>
            <a:endParaRPr lang="en-US" altLang="ro-RO" dirty="0"/>
          </a:p>
          <a:p>
            <a:pPr lvl="2" algn="just" eaLnBrk="1" hangingPunct="1">
              <a:spcAft>
                <a:spcPct val="0"/>
              </a:spcAft>
            </a:pPr>
            <a:r>
              <a:rPr lang="en-US" altLang="ro-RO" dirty="0" err="1" smtClean="0"/>
              <a:t>Insolventele</a:t>
            </a:r>
            <a:r>
              <a:rPr lang="en-US" altLang="ro-RO" dirty="0" smtClean="0"/>
              <a:t> in </a:t>
            </a:r>
            <a:r>
              <a:rPr lang="en-US" altLang="ro-RO" dirty="0" err="1" smtClean="0"/>
              <a:t>randul</a:t>
            </a:r>
            <a:r>
              <a:rPr lang="en-US" altLang="ro-RO" dirty="0" smtClean="0"/>
              <a:t> </a:t>
            </a:r>
            <a:r>
              <a:rPr lang="en-US" altLang="ro-RO" dirty="0" err="1" smtClean="0"/>
              <a:t>companiilor</a:t>
            </a:r>
            <a:r>
              <a:rPr lang="en-US" altLang="ro-RO" dirty="0" smtClean="0"/>
              <a:t> cu </a:t>
            </a:r>
            <a:r>
              <a:rPr lang="en-US" altLang="ro-RO" dirty="0" err="1" smtClean="0"/>
              <a:t>venituri</a:t>
            </a:r>
            <a:r>
              <a:rPr lang="en-US" altLang="ro-RO" dirty="0" smtClean="0"/>
              <a:t> &gt; 0,5 mil EUR </a:t>
            </a:r>
            <a:r>
              <a:rPr lang="en-US" altLang="ro-RO" dirty="0" err="1" smtClean="0"/>
              <a:t>cresc</a:t>
            </a:r>
            <a:r>
              <a:rPr lang="en-US" altLang="ro-RO" dirty="0" smtClean="0"/>
              <a:t> de la 263 (S1 – 2017) la 317 (S1 – 2018)</a:t>
            </a:r>
            <a:endParaRPr lang="en-US" altLang="ro-RO" dirty="0"/>
          </a:p>
        </p:txBody>
      </p:sp>
      <p:sp>
        <p:nvSpPr>
          <p:cNvPr id="2" name="Rectangle 1"/>
          <p:cNvSpPr/>
          <p:nvPr/>
        </p:nvSpPr>
        <p:spPr>
          <a:xfrm>
            <a:off x="684213" y="6308725"/>
            <a:ext cx="1008062" cy="3603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o-RO"/>
          </a:p>
        </p:txBody>
      </p:sp>
      <p:sp>
        <p:nvSpPr>
          <p:cNvPr id="48133" name="Rectangle 1"/>
          <p:cNvSpPr>
            <a:spLocks noChangeArrowheads="1"/>
          </p:cNvSpPr>
          <p:nvPr/>
        </p:nvSpPr>
        <p:spPr bwMode="auto">
          <a:xfrm>
            <a:off x="34925" y="3625850"/>
            <a:ext cx="44513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400" b="1" dirty="0" err="1" smtClean="0"/>
              <a:t>Evolutia</a:t>
            </a:r>
            <a:r>
              <a:rPr lang="en-US" altLang="ro-RO" sz="1400" b="1" dirty="0" smtClean="0"/>
              <a:t> </a:t>
            </a:r>
            <a:r>
              <a:rPr lang="en-US" altLang="ro-RO" sz="1400" b="1" dirty="0" err="1" smtClean="0"/>
              <a:t>anuala</a:t>
            </a:r>
            <a:r>
              <a:rPr lang="en-US" altLang="ro-RO" sz="1400" b="1" dirty="0" smtClean="0"/>
              <a:t> a </a:t>
            </a:r>
            <a:r>
              <a:rPr lang="en-US" altLang="ro-RO" sz="1400" b="1" dirty="0" err="1" smtClean="0"/>
              <a:t>insolventelor</a:t>
            </a:r>
            <a:r>
              <a:rPr lang="en-US" altLang="ro-RO" sz="1400" b="1" dirty="0" smtClean="0"/>
              <a:t> </a:t>
            </a:r>
            <a:endParaRPr lang="ro-RO" altLang="ro-RO" sz="1400" dirty="0"/>
          </a:p>
        </p:txBody>
      </p:sp>
      <p:graphicFrame>
        <p:nvGraphicFramePr>
          <p:cNvPr id="10" name="Chart 9"/>
          <p:cNvGraphicFramePr>
            <a:graphicFrameLocks/>
          </p:cNvGraphicFramePr>
          <p:nvPr/>
        </p:nvGraphicFramePr>
        <p:xfrm>
          <a:off x="179512" y="3911757"/>
          <a:ext cx="4140869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8135" name="Rectangle 1"/>
          <p:cNvSpPr>
            <a:spLocks noChangeArrowheads="1"/>
          </p:cNvSpPr>
          <p:nvPr/>
        </p:nvSpPr>
        <p:spPr bwMode="auto">
          <a:xfrm>
            <a:off x="4625068" y="3657600"/>
            <a:ext cx="44513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400" b="1" dirty="0" err="1" smtClean="0"/>
              <a:t>Insolvente</a:t>
            </a:r>
            <a:r>
              <a:rPr lang="en-US" altLang="ro-RO" sz="1400" b="1" dirty="0" smtClean="0"/>
              <a:t> in </a:t>
            </a:r>
            <a:r>
              <a:rPr lang="en-US" altLang="ro-RO" sz="1400" b="1" dirty="0" err="1" smtClean="0"/>
              <a:t>Semestrul</a:t>
            </a:r>
            <a:r>
              <a:rPr lang="en-US" altLang="ro-RO" sz="1400" b="1" dirty="0" smtClean="0"/>
              <a:t> I – 2010-2018</a:t>
            </a:r>
            <a:endParaRPr lang="ro-RO" altLang="ro-RO" sz="1400" dirty="0"/>
          </a:p>
        </p:txBody>
      </p:sp>
      <p:sp>
        <p:nvSpPr>
          <p:cNvPr id="48136" name="Rectangle 1"/>
          <p:cNvSpPr>
            <a:spLocks noChangeArrowheads="1"/>
          </p:cNvSpPr>
          <p:nvPr/>
        </p:nvSpPr>
        <p:spPr bwMode="auto">
          <a:xfrm>
            <a:off x="4787900" y="115888"/>
            <a:ext cx="445135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400" b="1" dirty="0" err="1" smtClean="0"/>
              <a:t>Insolvente</a:t>
            </a:r>
            <a:r>
              <a:rPr lang="en-US" altLang="ro-RO" sz="1400" b="1" dirty="0" smtClean="0"/>
              <a:t> in </a:t>
            </a:r>
            <a:r>
              <a:rPr lang="en-US" altLang="ro-RO" sz="1400" b="1" dirty="0" err="1" smtClean="0"/>
              <a:t>randul</a:t>
            </a:r>
            <a:r>
              <a:rPr lang="en-US" altLang="ro-RO" sz="1400" b="1" dirty="0" smtClean="0"/>
              <a:t> </a:t>
            </a:r>
            <a:r>
              <a:rPr lang="en-US" altLang="ro-RO" sz="1400" b="1" dirty="0" err="1" smtClean="0"/>
              <a:t>companiilor</a:t>
            </a:r>
            <a:r>
              <a:rPr lang="en-US" altLang="ro-RO" sz="1400" b="1" dirty="0" smtClean="0"/>
              <a:t> cu </a:t>
            </a:r>
          </a:p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400" b="1" dirty="0" err="1" smtClean="0"/>
              <a:t>Cifra</a:t>
            </a:r>
            <a:r>
              <a:rPr lang="en-US" altLang="ro-RO" sz="1400" b="1" dirty="0" smtClean="0"/>
              <a:t> de </a:t>
            </a:r>
            <a:r>
              <a:rPr lang="en-US" altLang="ro-RO" sz="1400" b="1" dirty="0" err="1" smtClean="0"/>
              <a:t>afaceri</a:t>
            </a:r>
            <a:r>
              <a:rPr lang="en-US" altLang="ro-RO" sz="1400" b="1" dirty="0" smtClean="0"/>
              <a:t> &gt; 0,5 </a:t>
            </a:r>
            <a:r>
              <a:rPr lang="en-US" altLang="ro-RO" sz="1400" b="1" dirty="0" err="1" smtClean="0"/>
              <a:t>miL</a:t>
            </a:r>
            <a:r>
              <a:rPr lang="en-US" altLang="ro-RO" sz="1400" b="1" dirty="0" smtClean="0"/>
              <a:t> EUR </a:t>
            </a:r>
            <a:endParaRPr lang="ro-RO" altLang="ro-RO" sz="1400" dirty="0"/>
          </a:p>
        </p:txBody>
      </p:sp>
      <p:sp>
        <p:nvSpPr>
          <p:cNvPr id="48137" name="Rectangle 1"/>
          <p:cNvSpPr>
            <a:spLocks noChangeArrowheads="1"/>
          </p:cNvSpPr>
          <p:nvPr/>
        </p:nvSpPr>
        <p:spPr bwMode="auto">
          <a:xfrm>
            <a:off x="323850" y="6608763"/>
            <a:ext cx="57324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Font typeface="Wingdings" pitchFamily="2" charset="2"/>
              <a:buNone/>
            </a:pPr>
            <a:r>
              <a:rPr lang="en-US" altLang="ro-RO" sz="1200" b="1"/>
              <a:t>Source</a:t>
            </a:r>
            <a:r>
              <a:rPr lang="en-US" altLang="ro-RO" sz="1200"/>
              <a:t>: </a:t>
            </a:r>
            <a:r>
              <a:rPr lang="en-US" altLang="ro-RO" sz="1200" i="1"/>
              <a:t>Ministry of Finance, BPI, ONRC, Coface,  data processed by the author</a:t>
            </a:r>
          </a:p>
        </p:txBody>
      </p:sp>
      <p:pic>
        <p:nvPicPr>
          <p:cNvPr id="48138" name="Picture 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9950" y="4105275"/>
            <a:ext cx="4232275" cy="2382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4087" y="758825"/>
            <a:ext cx="4238625" cy="288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8112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A3F48B-818E-4440-B2BA-2245DD423899}" type="slidenum">
              <a:rPr lang="fr-FR" smtClean="0"/>
              <a:pPr/>
              <a:t>8</a:t>
            </a:fld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304800" y="231035"/>
            <a:ext cx="8686800" cy="378565"/>
          </a:xfrm>
        </p:spPr>
        <p:txBody>
          <a:bodyPr/>
          <a:lstStyle/>
          <a:p>
            <a:r>
              <a:rPr lang="pt-BR" dirty="0" smtClean="0">
                <a:solidFill>
                  <a:srgbClr val="213588"/>
                </a:solidFill>
              </a:rPr>
              <a:t>evolutia insolventelor – semestrul I 2018 – </a:t>
            </a:r>
            <a:r>
              <a:rPr lang="pt-BR" dirty="0" smtClean="0">
                <a:solidFill>
                  <a:srgbClr val="FF0000"/>
                </a:solidFill>
              </a:rPr>
              <a:t>pierderi maxime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25000" lnSpcReduction="20000"/>
          </a:bodyPr>
          <a:lstStyle/>
          <a:p>
            <a:endParaRPr lang="fr-FR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5964284"/>
              </p:ext>
            </p:extLst>
          </p:nvPr>
        </p:nvGraphicFramePr>
        <p:xfrm>
          <a:off x="304800" y="990600"/>
          <a:ext cx="8534396" cy="1680940"/>
        </p:xfrm>
        <a:graphic>
          <a:graphicData uri="http://schemas.openxmlformats.org/drawingml/2006/table">
            <a:tbl>
              <a:tblPr/>
              <a:tblGrid>
                <a:gridCol w="2542160"/>
                <a:gridCol w="665804"/>
                <a:gridCol w="665804"/>
                <a:gridCol w="665804"/>
                <a:gridCol w="665804"/>
                <a:gridCol w="665804"/>
                <a:gridCol w="665804"/>
                <a:gridCol w="665804"/>
                <a:gridCol w="665804"/>
                <a:gridCol w="665804"/>
              </a:tblGrid>
              <a:tr h="168094">
                <a:tc>
                  <a:txBody>
                    <a:bodyPr/>
                    <a:lstStyle/>
                    <a:p>
                      <a:pPr algn="l" fontAlgn="b"/>
                      <a:r>
                        <a:rPr lang="ro-RO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Indicator Financiar / Semestrul I al anului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0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1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2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3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4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6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7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8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168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ro-RO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umar </a:t>
                      </a:r>
                      <a:r>
                        <a:rPr lang="ro-R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panii insolvente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10.617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11.789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14.218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13.855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12.862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5.819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4.472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4.442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4.199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094">
                <a:tc>
                  <a:txBody>
                    <a:bodyPr/>
                    <a:lstStyle/>
                    <a:p>
                      <a:pPr algn="l" fontAlgn="b"/>
                      <a:r>
                        <a:rPr lang="fr-F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fr-FR" sz="10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n</a:t>
                      </a:r>
                      <a:r>
                        <a:rPr lang="fr-F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re, au </a:t>
                      </a:r>
                      <a:r>
                        <a:rPr lang="fr-FR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pus</a:t>
                      </a:r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fr-FR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inanciare</a:t>
                      </a:r>
                      <a:r>
                        <a:rPr lang="fr-F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: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3.520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3.480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6.254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6.314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5.562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2.694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2.317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2.312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2.399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ro-RO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 </a:t>
                      </a:r>
                      <a:r>
                        <a:rPr lang="ro-R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atorii (mil RON)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8.306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6.788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11.002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15.646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12.402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8.296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13.582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7.140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6.992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094">
                <a:tc>
                  <a:txBody>
                    <a:bodyPr/>
                    <a:lstStyle/>
                    <a:p>
                      <a:pPr algn="l" fontAlgn="b"/>
                      <a:r>
                        <a:rPr lang="pt-BR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Total </a:t>
                      </a:r>
                      <a:r>
                        <a:rPr lang="pt-BR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tive fixe (mil RON)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4.012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2.596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6.008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10.400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7.964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4.184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10.374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2.596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2.024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094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ierderi </a:t>
                      </a:r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datorii - active imobilizate) - mil RON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4.294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4.192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4.994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5.246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4.438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4.112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3.208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4.544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4.968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094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ierdere </a:t>
                      </a:r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die / companie (mil RON)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1,2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1,2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0,8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0,8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0,8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1,5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1,4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2,0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2,1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ro-RO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umar </a:t>
                      </a:r>
                      <a:r>
                        <a:rPr lang="ro-R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gajati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29.322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23.037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33.157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40.134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30.731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29.686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22.770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19.285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25.963    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ro-RO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umar </a:t>
                      </a:r>
                      <a:r>
                        <a:rPr lang="ro-R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gajati / companie 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,3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,6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,3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,4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,5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,0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,8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,3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,8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8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ro-RO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rad </a:t>
                      </a:r>
                      <a:r>
                        <a:rPr lang="ro-R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pitalizare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3%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12%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29%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19%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17%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13%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8%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1%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%</a:t>
                      </a:r>
                    </a:p>
                  </a:txBody>
                  <a:tcPr marL="7004" marR="7004" marT="700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8390568"/>
              </p:ext>
            </p:extLst>
          </p:nvPr>
        </p:nvGraphicFramePr>
        <p:xfrm>
          <a:off x="457200" y="3581400"/>
          <a:ext cx="395478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3761363"/>
              </p:ext>
            </p:extLst>
          </p:nvPr>
        </p:nvGraphicFramePr>
        <p:xfrm>
          <a:off x="4800600" y="3657600"/>
          <a:ext cx="405384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457200" y="2982021"/>
            <a:ext cx="381635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600" b="1" dirty="0" err="1" smtClean="0">
                <a:solidFill>
                  <a:srgbClr val="213588"/>
                </a:solidFill>
                <a:latin typeface="+mj-lt"/>
              </a:rPr>
              <a:t>Pierderi</a:t>
            </a:r>
            <a:r>
              <a:rPr lang="en-US" altLang="ro-RO" sz="1600" b="1" dirty="0" smtClean="0">
                <a:solidFill>
                  <a:srgbClr val="213588"/>
                </a:solidFill>
                <a:latin typeface="+mj-lt"/>
              </a:rPr>
              <a:t> </a:t>
            </a:r>
            <a:r>
              <a:rPr lang="en-US" altLang="ro-RO" sz="1600" b="1" dirty="0" err="1" smtClean="0">
                <a:solidFill>
                  <a:srgbClr val="213588"/>
                </a:solidFill>
                <a:latin typeface="+mj-lt"/>
              </a:rPr>
              <a:t>totale</a:t>
            </a:r>
            <a:r>
              <a:rPr lang="en-US" altLang="ro-RO" sz="1600" b="1" dirty="0" smtClean="0">
                <a:solidFill>
                  <a:srgbClr val="213588"/>
                </a:solidFill>
                <a:latin typeface="+mj-lt"/>
              </a:rPr>
              <a:t> </a:t>
            </a:r>
            <a:r>
              <a:rPr lang="en-US" altLang="ro-RO" sz="1600" b="1" dirty="0" err="1" smtClean="0">
                <a:solidFill>
                  <a:srgbClr val="213588"/>
                </a:solidFill>
                <a:latin typeface="+mj-lt"/>
              </a:rPr>
              <a:t>cauzate</a:t>
            </a:r>
            <a:r>
              <a:rPr lang="en-US" altLang="ro-RO" sz="1600" b="1" dirty="0" smtClean="0">
                <a:solidFill>
                  <a:srgbClr val="213588"/>
                </a:solidFill>
                <a:latin typeface="+mj-lt"/>
              </a:rPr>
              <a:t> de </a:t>
            </a:r>
            <a:r>
              <a:rPr lang="en-US" altLang="ro-RO" sz="1600" b="1" dirty="0" err="1" smtClean="0">
                <a:solidFill>
                  <a:srgbClr val="213588"/>
                </a:solidFill>
                <a:latin typeface="+mj-lt"/>
              </a:rPr>
              <a:t>firmele</a:t>
            </a:r>
            <a:r>
              <a:rPr lang="en-US" altLang="ro-RO" sz="1600" b="1" dirty="0" smtClean="0">
                <a:solidFill>
                  <a:srgbClr val="213588"/>
                </a:solidFill>
                <a:latin typeface="+mj-lt"/>
              </a:rPr>
              <a:t> </a:t>
            </a:r>
            <a:r>
              <a:rPr lang="en-US" altLang="ro-RO" sz="1600" b="1" dirty="0" err="1" smtClean="0">
                <a:solidFill>
                  <a:srgbClr val="213588"/>
                </a:solidFill>
                <a:latin typeface="+mj-lt"/>
              </a:rPr>
              <a:t>insolvente</a:t>
            </a:r>
            <a:r>
              <a:rPr lang="en-US" altLang="ro-RO" sz="1600" b="1" dirty="0" smtClean="0">
                <a:solidFill>
                  <a:srgbClr val="213588"/>
                </a:solidFill>
                <a:latin typeface="+mj-lt"/>
              </a:rPr>
              <a:t> (mil RON)</a:t>
            </a:r>
            <a:endParaRPr lang="ro-RO" altLang="ro-RO" sz="1600" dirty="0">
              <a:solidFill>
                <a:srgbClr val="213588"/>
              </a:solidFill>
              <a:latin typeface="+mj-lt"/>
            </a:endParaRPr>
          </a:p>
        </p:txBody>
      </p:sp>
      <p:sp>
        <p:nvSpPr>
          <p:cNvPr id="17" name="Rectangle 1"/>
          <p:cNvSpPr>
            <a:spLocks noChangeArrowheads="1"/>
          </p:cNvSpPr>
          <p:nvPr/>
        </p:nvSpPr>
        <p:spPr bwMode="auto">
          <a:xfrm>
            <a:off x="5099050" y="2996625"/>
            <a:ext cx="38163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600" b="1" dirty="0" err="1" smtClean="0">
                <a:solidFill>
                  <a:srgbClr val="213588"/>
                </a:solidFill>
                <a:latin typeface="+mj-lt"/>
              </a:rPr>
              <a:t>Pierderea</a:t>
            </a:r>
            <a:r>
              <a:rPr lang="en-US" altLang="ro-RO" sz="1600" b="1" dirty="0" smtClean="0">
                <a:solidFill>
                  <a:srgbClr val="213588"/>
                </a:solidFill>
                <a:latin typeface="+mj-lt"/>
              </a:rPr>
              <a:t> </a:t>
            </a:r>
            <a:r>
              <a:rPr lang="en-US" altLang="ro-RO" sz="1600" b="1" dirty="0" err="1" smtClean="0">
                <a:solidFill>
                  <a:srgbClr val="213588"/>
                </a:solidFill>
                <a:latin typeface="+mj-lt"/>
              </a:rPr>
              <a:t>medie</a:t>
            </a:r>
            <a:r>
              <a:rPr lang="en-US" altLang="ro-RO" sz="1600" b="1" dirty="0" smtClean="0">
                <a:solidFill>
                  <a:srgbClr val="213588"/>
                </a:solidFill>
                <a:latin typeface="+mj-lt"/>
              </a:rPr>
              <a:t> / </a:t>
            </a:r>
            <a:r>
              <a:rPr lang="en-US" altLang="ro-RO" sz="1600" b="1" dirty="0" err="1" smtClean="0">
                <a:solidFill>
                  <a:srgbClr val="213588"/>
                </a:solidFill>
                <a:latin typeface="+mj-lt"/>
              </a:rPr>
              <a:t>companie</a:t>
            </a:r>
            <a:r>
              <a:rPr lang="en-US" altLang="ro-RO" sz="1600" b="1" dirty="0" smtClean="0">
                <a:solidFill>
                  <a:srgbClr val="213588"/>
                </a:solidFill>
                <a:latin typeface="+mj-lt"/>
              </a:rPr>
              <a:t> </a:t>
            </a:r>
            <a:r>
              <a:rPr lang="en-US" altLang="ro-RO" sz="1600" b="1" dirty="0" err="1" smtClean="0">
                <a:solidFill>
                  <a:srgbClr val="213588"/>
                </a:solidFill>
                <a:latin typeface="+mj-lt"/>
              </a:rPr>
              <a:t>insolventa</a:t>
            </a:r>
            <a:r>
              <a:rPr lang="en-US" altLang="ro-RO" sz="1600" b="1" dirty="0" smtClean="0">
                <a:solidFill>
                  <a:srgbClr val="213588"/>
                </a:solidFill>
                <a:latin typeface="+mj-lt"/>
              </a:rPr>
              <a:t> </a:t>
            </a:r>
            <a:endParaRPr lang="ro-RO" altLang="ro-RO" sz="1600" dirty="0">
              <a:solidFill>
                <a:srgbClr val="213588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0319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7A3F48B-818E-4440-B2BA-2245DD423899}" type="slidenum">
              <a:rPr lang="fr-FR" smtClean="0"/>
              <a:pPr/>
              <a:t>9</a:t>
            </a:fld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381000" y="152400"/>
            <a:ext cx="8353426" cy="415498"/>
          </a:xfrm>
        </p:spPr>
        <p:txBody>
          <a:bodyPr/>
          <a:lstStyle/>
          <a:p>
            <a:r>
              <a:rPr lang="pt-BR" dirty="0">
                <a:solidFill>
                  <a:srgbClr val="213588"/>
                </a:solidFill>
              </a:rPr>
              <a:t>evolutia  </a:t>
            </a:r>
            <a:r>
              <a:rPr lang="pt-BR" dirty="0" smtClean="0">
                <a:solidFill>
                  <a:srgbClr val="213588"/>
                </a:solidFill>
              </a:rPr>
              <a:t>antreprenoriatului</a:t>
            </a:r>
            <a:endParaRPr lang="en-US" dirty="0">
              <a:solidFill>
                <a:srgbClr val="213588"/>
              </a:solidFill>
            </a:endParaRP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25000" lnSpcReduction="20000"/>
          </a:bodyPr>
          <a:lstStyle/>
          <a:p>
            <a:endParaRPr lang="fr-FR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6377293"/>
              </p:ext>
            </p:extLst>
          </p:nvPr>
        </p:nvGraphicFramePr>
        <p:xfrm>
          <a:off x="304795" y="1324586"/>
          <a:ext cx="8534404" cy="1994922"/>
        </p:xfrm>
        <a:graphic>
          <a:graphicData uri="http://schemas.openxmlformats.org/drawingml/2006/table">
            <a:tbl>
              <a:tblPr firstRow="1" firstCol="1" bandRow="1"/>
              <a:tblGrid>
                <a:gridCol w="118955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1887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1887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1887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1887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1887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96909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71887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718879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796909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718879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</a:tblGrid>
              <a:tr h="22268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Anul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008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009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010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011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012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013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014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015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016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017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268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Suspendari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dirty="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2.019</a:t>
                      </a:r>
                      <a:endParaRPr lang="ro-RO" sz="1600" dirty="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dirty="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9.456</a:t>
                      </a:r>
                      <a:endParaRPr lang="ro-RO" sz="1600" dirty="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4.398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1.221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1.086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4.078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5.788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7.698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5.918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6.000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2268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dirty="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Dizolvari</a:t>
                      </a:r>
                      <a:endParaRPr lang="ro-RO" sz="1600" dirty="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3.762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dirty="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8.766</a:t>
                      </a:r>
                      <a:endParaRPr lang="ro-RO" sz="1600" dirty="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7.508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4.001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2.500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3.208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8.336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dirty="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7.967</a:t>
                      </a:r>
                      <a:endParaRPr lang="ro-RO" sz="1600" dirty="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9.923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30.000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2268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Radieri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7.676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43.615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dirty="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58.726</a:t>
                      </a:r>
                      <a:endParaRPr lang="ro-RO" sz="1600" dirty="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56.245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71.746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80.786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76.483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94.374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09.113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80.000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2268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Insolvente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4.483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8.421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9.650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dirty="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1.499</a:t>
                      </a:r>
                      <a:endParaRPr lang="ro-RO" sz="1600" dirty="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dirty="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5.842</a:t>
                      </a:r>
                      <a:endParaRPr lang="ro-RO" sz="1600" dirty="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7.924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0.170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0.170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dirty="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8.053</a:t>
                      </a:r>
                      <a:endParaRPr lang="ro-RO" sz="1600" dirty="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8.256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2268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Intreruperi</a:t>
                      </a:r>
                      <a:endParaRPr lang="ro-RO" sz="160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47.940</a:t>
                      </a:r>
                      <a:endParaRPr lang="ro-RO" sz="160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10.258</a:t>
                      </a:r>
                      <a:endParaRPr lang="ro-RO" sz="160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10.282</a:t>
                      </a:r>
                      <a:endParaRPr lang="ro-RO" sz="160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02.966</a:t>
                      </a:r>
                      <a:endParaRPr lang="ro-RO" sz="160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41.174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55.996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30.823</a:t>
                      </a:r>
                      <a:endParaRPr lang="ro-RO" sz="160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50.209</a:t>
                      </a:r>
                      <a:endParaRPr lang="ro-RO" sz="160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63.007</a:t>
                      </a:r>
                      <a:endParaRPr lang="ro-RO" sz="160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34.256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2268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Inregistrari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44.239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16.022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19.048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30.162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25.603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24.816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01.627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13.167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05.982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dirty="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40.000</a:t>
                      </a:r>
                      <a:endParaRPr lang="ro-RO" sz="1600" dirty="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2268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din care SRL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00.661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56.698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48.102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62.735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61.542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60.292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56.381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dirty="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64.417</a:t>
                      </a:r>
                      <a:endParaRPr lang="ro-RO" sz="1600" dirty="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73.889</a:t>
                      </a:r>
                      <a:endParaRPr lang="ro-RO" sz="160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dirty="0">
                          <a:solidFill>
                            <a:srgbClr val="213588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00.000</a:t>
                      </a:r>
                      <a:endParaRPr lang="ro-RO" sz="1600" dirty="0">
                        <a:solidFill>
                          <a:srgbClr val="213588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134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OUT : IN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0,5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,9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,3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,6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,3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,6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,3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,3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2,2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o-RO" sz="12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1,3</a:t>
                      </a:r>
                      <a:endParaRPr lang="ro-RO" sz="16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1358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5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1600200" y="914400"/>
            <a:ext cx="57912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ro-RO" sz="1600" b="1" dirty="0">
                <a:solidFill>
                  <a:srgbClr val="213588"/>
                </a:solidFill>
                <a:latin typeface="+mj-lt"/>
              </a:rPr>
              <a:t>Raport inmatriculari vs. Intreruperi </a:t>
            </a:r>
            <a:r>
              <a:rPr lang="ro-RO" sz="1600" b="1" dirty="0" smtClean="0">
                <a:solidFill>
                  <a:srgbClr val="213588"/>
                </a:solidFill>
                <a:latin typeface="+mj-lt"/>
              </a:rPr>
              <a:t>activitate</a:t>
            </a:r>
            <a:r>
              <a:rPr lang="en-US" sz="1600" b="1" dirty="0" smtClean="0">
                <a:solidFill>
                  <a:srgbClr val="213588"/>
                </a:solidFill>
                <a:latin typeface="+mj-lt"/>
              </a:rPr>
              <a:t> – </a:t>
            </a:r>
            <a:r>
              <a:rPr lang="en-US" sz="1600" b="1" dirty="0" err="1" smtClean="0">
                <a:solidFill>
                  <a:srgbClr val="213588"/>
                </a:solidFill>
                <a:latin typeface="+mj-lt"/>
              </a:rPr>
              <a:t>ultimul</a:t>
            </a:r>
            <a:r>
              <a:rPr lang="en-US" sz="1600" b="1" dirty="0" smtClean="0">
                <a:solidFill>
                  <a:srgbClr val="213588"/>
                </a:solidFill>
                <a:latin typeface="+mj-lt"/>
              </a:rPr>
              <a:t> </a:t>
            </a:r>
            <a:r>
              <a:rPr lang="en-US" sz="1600" b="1" dirty="0" err="1" smtClean="0">
                <a:solidFill>
                  <a:srgbClr val="213588"/>
                </a:solidFill>
                <a:latin typeface="+mj-lt"/>
              </a:rPr>
              <a:t>deceniu</a:t>
            </a:r>
            <a:r>
              <a:rPr lang="en-US" sz="1600" b="1" dirty="0" smtClean="0">
                <a:solidFill>
                  <a:srgbClr val="213588"/>
                </a:solidFill>
                <a:latin typeface="+mj-lt"/>
              </a:rPr>
              <a:t> </a:t>
            </a:r>
            <a:r>
              <a:rPr lang="ro-RO" sz="1600" b="1" dirty="0" smtClean="0">
                <a:solidFill>
                  <a:srgbClr val="213588"/>
                </a:solidFill>
                <a:latin typeface="+mj-lt"/>
              </a:rPr>
              <a:t> </a:t>
            </a:r>
            <a:endParaRPr lang="ro-RO" altLang="ro-RO" sz="1600" dirty="0">
              <a:solidFill>
                <a:srgbClr val="213588"/>
              </a:solidFill>
              <a:latin typeface="+mj-lt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7590052"/>
              </p:ext>
            </p:extLst>
          </p:nvPr>
        </p:nvGraphicFramePr>
        <p:xfrm>
          <a:off x="4610100" y="4343400"/>
          <a:ext cx="4114799" cy="1775460"/>
        </p:xfrm>
        <a:graphic>
          <a:graphicData uri="http://schemas.openxmlformats.org/drawingml/2006/table">
            <a:tbl>
              <a:tblPr firstRow="1" firstCol="1" bandRow="1"/>
              <a:tblGrid>
                <a:gridCol w="1225685"/>
                <a:gridCol w="963038"/>
                <a:gridCol w="963038"/>
                <a:gridCol w="963038"/>
              </a:tblGrid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ro-RO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Categorie</a:t>
                      </a:r>
                      <a:endParaRPr lang="ro-RO" sz="10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Ianuarie - Iunie 20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Ianuarie - Iunie 201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Dinamica 2018 / 20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97D"/>
                    </a:solidFill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ro-RO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spendari</a:t>
                      </a:r>
                      <a:endParaRPr lang="ro-R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597     </a:t>
                      </a:r>
                      <a:endParaRPr lang="ro-R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618     </a:t>
                      </a:r>
                      <a:endParaRPr lang="ro-R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7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ro-RO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zolvari</a:t>
                      </a:r>
                      <a:endParaRPr lang="ro-R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.688     </a:t>
                      </a:r>
                      <a:endParaRPr lang="ro-R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.570     </a:t>
                      </a:r>
                      <a:endParaRPr lang="ro-R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6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ro-RO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adieri</a:t>
                      </a:r>
                      <a:endParaRPr lang="ro-R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1.257     </a:t>
                      </a:r>
                      <a:endParaRPr lang="ro-R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1.748     </a:t>
                      </a:r>
                      <a:endParaRPr lang="ro-R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ro-RO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solvente </a:t>
                      </a:r>
                      <a:endParaRPr lang="ro-R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677     </a:t>
                      </a:r>
                      <a:endParaRPr lang="ro-R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486     </a:t>
                      </a:r>
                      <a:endParaRPr lang="ro-R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4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ro-RO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Total </a:t>
                      </a:r>
                      <a:r>
                        <a:rPr lang="ro-RO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Intreruperi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66.219     </a:t>
                      </a:r>
                      <a:endParaRPr lang="ro-RO" sz="10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74.422     </a:t>
                      </a:r>
                      <a:endParaRPr lang="ro-RO" sz="10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12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matriculari</a:t>
                      </a:r>
                      <a:endParaRPr lang="ro-R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9.251     </a:t>
                      </a:r>
                      <a:endParaRPr lang="ro-R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1.473     </a:t>
                      </a:r>
                      <a:endParaRPr lang="ro-R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10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  din care, SR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56.204     </a:t>
                      </a:r>
                      <a:endParaRPr lang="ro-RO" sz="10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45.276     </a:t>
                      </a:r>
                      <a:endParaRPr lang="ro-RO" sz="1000" b="1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-19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o-RO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treruperi </a:t>
                      </a:r>
                      <a:r>
                        <a:rPr lang="ro-RO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/  Inmatriculari SR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o-R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o-RO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64     </a:t>
                      </a:r>
                      <a:endParaRPr lang="ro-RO" sz="1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o-R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13" name="Rectangle 1"/>
          <p:cNvSpPr>
            <a:spLocks noChangeArrowheads="1"/>
          </p:cNvSpPr>
          <p:nvPr/>
        </p:nvSpPr>
        <p:spPr bwMode="auto">
          <a:xfrm>
            <a:off x="4114800" y="3581400"/>
            <a:ext cx="51054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ro-RO" sz="1600" b="1" dirty="0">
                <a:solidFill>
                  <a:srgbClr val="213588"/>
                </a:solidFill>
                <a:latin typeface="+mj-lt"/>
              </a:rPr>
              <a:t>Raport inmatriculari vs. Intreruperi </a:t>
            </a:r>
            <a:r>
              <a:rPr lang="ro-RO" sz="1600" b="1" dirty="0" smtClean="0">
                <a:solidFill>
                  <a:srgbClr val="213588"/>
                </a:solidFill>
                <a:latin typeface="+mj-lt"/>
              </a:rPr>
              <a:t>activitate</a:t>
            </a:r>
            <a:r>
              <a:rPr lang="en-US" sz="1600" b="1" dirty="0" smtClean="0">
                <a:solidFill>
                  <a:srgbClr val="213588"/>
                </a:solidFill>
                <a:latin typeface="+mj-lt"/>
              </a:rPr>
              <a:t> – H1 2018</a:t>
            </a:r>
            <a:endParaRPr lang="ro-RO" altLang="ro-RO" sz="1600" dirty="0">
              <a:solidFill>
                <a:srgbClr val="213588"/>
              </a:solidFill>
              <a:latin typeface="+mj-lt"/>
            </a:endParaRPr>
          </a:p>
        </p:txBody>
      </p:sp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81955491"/>
              </p:ext>
            </p:extLst>
          </p:nvPr>
        </p:nvGraphicFramePr>
        <p:xfrm>
          <a:off x="228600" y="4038600"/>
          <a:ext cx="3886200" cy="243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Rectangle 1"/>
          <p:cNvSpPr>
            <a:spLocks noChangeArrowheads="1"/>
          </p:cNvSpPr>
          <p:nvPr/>
        </p:nvSpPr>
        <p:spPr bwMode="auto">
          <a:xfrm>
            <a:off x="381000" y="3581400"/>
            <a:ext cx="35814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Font typeface="Wingdings" pitchFamily="2" charset="2"/>
              <a:buChar char="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spcAft>
                <a:spcPts val="1100"/>
              </a:spcAft>
              <a:buClr>
                <a:srgbClr val="61B57C"/>
              </a:buClr>
              <a:buSzPct val="70000"/>
              <a:buFont typeface="Wingdings" pitchFamily="2" charset="2"/>
              <a:buChar char=""/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ts val="1100"/>
              </a:spcAft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ClrTx/>
              <a:buFontTx/>
              <a:buNone/>
            </a:pPr>
            <a:r>
              <a:rPr lang="en-US" altLang="ro-RO" sz="1600" b="1" dirty="0" err="1" smtClean="0">
                <a:solidFill>
                  <a:srgbClr val="213588"/>
                </a:solidFill>
                <a:latin typeface="+mj-lt"/>
              </a:rPr>
              <a:t>Durata</a:t>
            </a:r>
            <a:r>
              <a:rPr lang="en-US" altLang="ro-RO" sz="1600" b="1" dirty="0" smtClean="0">
                <a:solidFill>
                  <a:srgbClr val="213588"/>
                </a:solidFill>
                <a:latin typeface="+mj-lt"/>
              </a:rPr>
              <a:t> de </a:t>
            </a:r>
            <a:r>
              <a:rPr lang="en-US" altLang="ro-RO" sz="1600" b="1" dirty="0" err="1" smtClean="0">
                <a:solidFill>
                  <a:srgbClr val="213588"/>
                </a:solidFill>
                <a:latin typeface="+mj-lt"/>
              </a:rPr>
              <a:t>activitate</a:t>
            </a:r>
            <a:r>
              <a:rPr lang="en-US" altLang="ro-RO" sz="1600" b="1" dirty="0" smtClean="0">
                <a:solidFill>
                  <a:srgbClr val="213588"/>
                </a:solidFill>
                <a:latin typeface="+mj-lt"/>
              </a:rPr>
              <a:t> a </a:t>
            </a:r>
            <a:r>
              <a:rPr lang="en-US" altLang="ro-RO" sz="1600" b="1" dirty="0" err="1" smtClean="0">
                <a:solidFill>
                  <a:srgbClr val="213588"/>
                </a:solidFill>
                <a:latin typeface="+mj-lt"/>
              </a:rPr>
              <a:t>companiilor</a:t>
            </a:r>
            <a:r>
              <a:rPr lang="en-US" altLang="ro-RO" sz="1600" b="1" dirty="0" smtClean="0">
                <a:solidFill>
                  <a:srgbClr val="213588"/>
                </a:solidFill>
                <a:latin typeface="+mj-lt"/>
              </a:rPr>
              <a:t> (</a:t>
            </a:r>
            <a:r>
              <a:rPr lang="en-US" altLang="ro-RO" sz="1600" b="1" dirty="0" err="1" smtClean="0">
                <a:solidFill>
                  <a:srgbClr val="213588"/>
                </a:solidFill>
                <a:latin typeface="+mj-lt"/>
              </a:rPr>
              <a:t>ani</a:t>
            </a:r>
            <a:r>
              <a:rPr lang="en-US" altLang="ro-RO" sz="1600" b="1" dirty="0" smtClean="0">
                <a:solidFill>
                  <a:srgbClr val="213588"/>
                </a:solidFill>
                <a:latin typeface="+mj-lt"/>
              </a:rPr>
              <a:t>)</a:t>
            </a:r>
            <a:endParaRPr lang="ro-RO" altLang="ro-RO" sz="1600" dirty="0">
              <a:solidFill>
                <a:srgbClr val="213588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8824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wz4JLH6EW2gfPk0CFjFQ"/>
</p:tagLst>
</file>

<file path=ppt/theme/theme1.xml><?xml version="1.0" encoding="utf-8"?>
<a:theme xmlns:a="http://schemas.openxmlformats.org/drawingml/2006/main" name="1_Coface">
  <a:themeElements>
    <a:clrScheme name="Coface">
      <a:dk1>
        <a:sysClr val="windowText" lastClr="000000"/>
      </a:dk1>
      <a:lt1>
        <a:sysClr val="window" lastClr="FFFFFF"/>
      </a:lt1>
      <a:dk2>
        <a:srgbClr val="03365F"/>
      </a:dk2>
      <a:lt2>
        <a:srgbClr val="6A7292"/>
      </a:lt2>
      <a:accent1>
        <a:srgbClr val="61B57C"/>
      </a:accent1>
      <a:accent2>
        <a:srgbClr val="E06E2B"/>
      </a:accent2>
      <a:accent3>
        <a:srgbClr val="C1A52A"/>
      </a:accent3>
      <a:accent4>
        <a:srgbClr val="18B3B9"/>
      </a:accent4>
      <a:accent5>
        <a:srgbClr val="C40070"/>
      </a:accent5>
      <a:accent6>
        <a:srgbClr val="ED4447"/>
      </a:accent6>
      <a:hlink>
        <a:srgbClr val="1D3661"/>
      </a:hlink>
      <a:folHlink>
        <a:srgbClr val="1D3661"/>
      </a:folHlink>
    </a:clrScheme>
    <a:fontScheme name="Coface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12700" cap="rnd">
          <a:solidFill>
            <a:schemeClr val="accent4"/>
          </a:solidFill>
          <a:prstDash val="sysDot"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oface">
  <a:themeElements>
    <a:clrScheme name="Coface">
      <a:dk1>
        <a:sysClr val="windowText" lastClr="000000"/>
      </a:dk1>
      <a:lt1>
        <a:sysClr val="window" lastClr="FFFFFF"/>
      </a:lt1>
      <a:dk2>
        <a:srgbClr val="03365F"/>
      </a:dk2>
      <a:lt2>
        <a:srgbClr val="6A7292"/>
      </a:lt2>
      <a:accent1>
        <a:srgbClr val="61B57C"/>
      </a:accent1>
      <a:accent2>
        <a:srgbClr val="E06E2B"/>
      </a:accent2>
      <a:accent3>
        <a:srgbClr val="C1A52A"/>
      </a:accent3>
      <a:accent4>
        <a:srgbClr val="18B3B9"/>
      </a:accent4>
      <a:accent5>
        <a:srgbClr val="C40070"/>
      </a:accent5>
      <a:accent6>
        <a:srgbClr val="ED4447"/>
      </a:accent6>
      <a:hlink>
        <a:srgbClr val="1D3661"/>
      </a:hlink>
      <a:folHlink>
        <a:srgbClr val="1D3661"/>
      </a:folHlink>
    </a:clrScheme>
    <a:fontScheme name="Coface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12700" cap="rnd">
          <a:solidFill>
            <a:schemeClr val="accent4"/>
          </a:solidFill>
          <a:prstDash val="sysDot"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 cap="rnd">
          <a:solidFill>
            <a:schemeClr val="tx2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OFACE">
    <a:dk1>
      <a:sysClr val="windowText" lastClr="000000"/>
    </a:dk1>
    <a:lt1>
      <a:sysClr val="window" lastClr="FFFFFF"/>
    </a:lt1>
    <a:dk2>
      <a:srgbClr val="AE5CA7"/>
    </a:dk2>
    <a:lt2>
      <a:srgbClr val="C1A52A"/>
    </a:lt2>
    <a:accent1>
      <a:srgbClr val="03365F"/>
    </a:accent1>
    <a:accent2>
      <a:srgbClr val="6A7B9C"/>
    </a:accent2>
    <a:accent3>
      <a:srgbClr val="CCD1DD"/>
    </a:accent3>
    <a:accent4>
      <a:srgbClr val="61B57C"/>
    </a:accent4>
    <a:accent5>
      <a:srgbClr val="A3D4B0"/>
    </a:accent5>
    <a:accent6>
      <a:srgbClr val="E0F1E5"/>
    </a:accent6>
    <a:hlink>
      <a:srgbClr val="FFFFFF"/>
    </a:hlink>
    <a:folHlink>
      <a:srgbClr val="FFFFFF"/>
    </a:folHlink>
  </a:clrScheme>
  <a:fontScheme name="COFAC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15</TotalTime>
  <Words>2200</Words>
  <Application>Microsoft Office PowerPoint</Application>
  <PresentationFormat>On-screen Show (4:3)</PresentationFormat>
  <Paragraphs>793</Paragraphs>
  <Slides>17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1_Coface</vt:lpstr>
      <vt:lpstr>2_Cofa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UDA Iancu</dc:creator>
  <cp:lastModifiedBy>GUDA Iancu</cp:lastModifiedBy>
  <cp:revision>21</cp:revision>
  <dcterms:created xsi:type="dcterms:W3CDTF">2006-08-16T00:00:00Z</dcterms:created>
  <dcterms:modified xsi:type="dcterms:W3CDTF">2018-09-17T09:57:54Z</dcterms:modified>
</cp:coreProperties>
</file>